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2" r:id="rId5"/>
  </p:sldMasterIdLst>
  <p:notesMasterIdLst>
    <p:notesMasterId r:id="rId11"/>
  </p:notesMasterIdLst>
  <p:handoutMasterIdLst>
    <p:handoutMasterId r:id="rId12"/>
  </p:handoutMasterIdLst>
  <p:sldIdLst>
    <p:sldId id="3528" r:id="rId6"/>
    <p:sldId id="3573" r:id="rId7"/>
    <p:sldId id="3551" r:id="rId8"/>
    <p:sldId id="263" r:id="rId9"/>
    <p:sldId id="3535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55A5"/>
    <a:srgbClr val="075BAA"/>
    <a:srgbClr val="00B150"/>
    <a:srgbClr val="065B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96C9A0F-4D42-4D7E-881D-9A530A06B09D}" v="78" dt="2019-06-13T17:46:24.4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8" autoAdjust="0"/>
    <p:restoredTop sz="80729" autoAdjust="0"/>
  </p:normalViewPr>
  <p:slideViewPr>
    <p:cSldViewPr snapToGrid="0" showGuides="1">
      <p:cViewPr varScale="1">
        <p:scale>
          <a:sx n="88" d="100"/>
          <a:sy n="88" d="100"/>
        </p:scale>
        <p:origin x="1386" y="6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7" d="100"/>
          <a:sy n="87" d="100"/>
        </p:scale>
        <p:origin x="3840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rawin Phichitnitikorn" userId="9a60c5a28da5113d" providerId="LiveId" clId="{5B190BA7-5AD8-43F3-8B31-047B7ED96440}"/>
    <pc:docChg chg="undo custSel addSld delSld modSld">
      <pc:chgData name="Prawin Phichitnitikorn" userId="9a60c5a28da5113d" providerId="LiveId" clId="{5B190BA7-5AD8-43F3-8B31-047B7ED96440}" dt="2019-06-13T17:34:29.092" v="682"/>
      <pc:docMkLst>
        <pc:docMk/>
      </pc:docMkLst>
      <pc:sldChg chg="del">
        <pc:chgData name="Prawin Phichitnitikorn" userId="9a60c5a28da5113d" providerId="LiveId" clId="{5B190BA7-5AD8-43F3-8B31-047B7ED96440}" dt="2019-06-13T16:50:31.942" v="25" actId="2696"/>
        <pc:sldMkLst>
          <pc:docMk/>
          <pc:sldMk cId="1366375361" sldId="260"/>
        </pc:sldMkLst>
      </pc:sldChg>
      <pc:sldChg chg="del">
        <pc:chgData name="Prawin Phichitnitikorn" userId="9a60c5a28da5113d" providerId="LiveId" clId="{5B190BA7-5AD8-43F3-8B31-047B7ED96440}" dt="2019-06-13T16:50:31.950" v="26" actId="2696"/>
        <pc:sldMkLst>
          <pc:docMk/>
          <pc:sldMk cId="2852182166" sldId="262"/>
        </pc:sldMkLst>
      </pc:sldChg>
      <pc:sldChg chg="del">
        <pc:chgData name="Prawin Phichitnitikorn" userId="9a60c5a28da5113d" providerId="LiveId" clId="{5B190BA7-5AD8-43F3-8B31-047B7ED96440}" dt="2019-06-13T16:50:48.138" v="44" actId="2696"/>
        <pc:sldMkLst>
          <pc:docMk/>
          <pc:sldMk cId="0" sldId="281"/>
        </pc:sldMkLst>
      </pc:sldChg>
      <pc:sldChg chg="add del">
        <pc:chgData name="Prawin Phichitnitikorn" userId="9a60c5a28da5113d" providerId="LiveId" clId="{5B190BA7-5AD8-43F3-8B31-047B7ED96440}" dt="2019-06-13T17:34:08.353" v="671" actId="2696"/>
        <pc:sldMkLst>
          <pc:docMk/>
          <pc:sldMk cId="1663738300" sldId="435"/>
        </pc:sldMkLst>
      </pc:sldChg>
      <pc:sldChg chg="del">
        <pc:chgData name="Prawin Phichitnitikorn" userId="9a60c5a28da5113d" providerId="LiveId" clId="{5B190BA7-5AD8-43F3-8B31-047B7ED96440}" dt="2019-06-13T16:50:36.121" v="41" actId="2696"/>
        <pc:sldMkLst>
          <pc:docMk/>
          <pc:sldMk cId="3894588770" sldId="1507"/>
        </pc:sldMkLst>
      </pc:sldChg>
      <pc:sldChg chg="addSp delSp modSp">
        <pc:chgData name="Prawin Phichitnitikorn" userId="9a60c5a28da5113d" providerId="LiveId" clId="{5B190BA7-5AD8-43F3-8B31-047B7ED96440}" dt="2019-06-13T17:34:29.092" v="682"/>
        <pc:sldMkLst>
          <pc:docMk/>
          <pc:sldMk cId="3273893546" sldId="3528"/>
        </pc:sldMkLst>
        <pc:spChg chg="mod">
          <ac:chgData name="Prawin Phichitnitikorn" userId="9a60c5a28da5113d" providerId="LiveId" clId="{5B190BA7-5AD8-43F3-8B31-047B7ED96440}" dt="2019-06-13T16:47:09.597" v="22" actId="20577"/>
          <ac:spMkLst>
            <pc:docMk/>
            <pc:sldMk cId="3273893546" sldId="3528"/>
            <ac:spMk id="6" creationId="{10A480DF-52CB-4B83-BBD1-F199CFC00C91}"/>
          </ac:spMkLst>
        </pc:spChg>
        <pc:spChg chg="add del">
          <ac:chgData name="Prawin Phichitnitikorn" userId="9a60c5a28da5113d" providerId="LiveId" clId="{5B190BA7-5AD8-43F3-8B31-047B7ED96440}" dt="2019-06-13T17:29:26.725" v="578"/>
          <ac:spMkLst>
            <pc:docMk/>
            <pc:sldMk cId="3273893546" sldId="3528"/>
            <ac:spMk id="9" creationId="{382A2AB5-8A9C-4347-A4CA-FE7ECD3D5B21}"/>
          </ac:spMkLst>
        </pc:spChg>
        <pc:spChg chg="add">
          <ac:chgData name="Prawin Phichitnitikorn" userId="9a60c5a28da5113d" providerId="LiveId" clId="{5B190BA7-5AD8-43F3-8B31-047B7ED96440}" dt="2019-06-13T17:34:29.092" v="682"/>
          <ac:spMkLst>
            <pc:docMk/>
            <pc:sldMk cId="3273893546" sldId="3528"/>
            <ac:spMk id="11" creationId="{89D77E84-63C9-44C2-86D7-D0E824E1A583}"/>
          </ac:spMkLst>
        </pc:spChg>
        <pc:picChg chg="add del">
          <ac:chgData name="Prawin Phichitnitikorn" userId="9a60c5a28da5113d" providerId="LiveId" clId="{5B190BA7-5AD8-43F3-8B31-047B7ED96440}" dt="2019-06-13T17:34:28.773" v="681" actId="478"/>
          <ac:picMkLst>
            <pc:docMk/>
            <pc:sldMk cId="3273893546" sldId="3528"/>
            <ac:picMk id="4" creationId="{524E9BEC-DCA7-42F4-9261-F3662538EE8A}"/>
          </ac:picMkLst>
        </pc:picChg>
        <pc:picChg chg="add del">
          <ac:chgData name="Prawin Phichitnitikorn" userId="9a60c5a28da5113d" providerId="LiveId" clId="{5B190BA7-5AD8-43F3-8B31-047B7ED96440}" dt="2019-06-13T17:29:26.725" v="578"/>
          <ac:picMkLst>
            <pc:docMk/>
            <pc:sldMk cId="3273893546" sldId="3528"/>
            <ac:picMk id="7" creationId="{F549D545-9E79-44E1-8431-D3141D094276}"/>
          </ac:picMkLst>
        </pc:picChg>
        <pc:picChg chg="add">
          <ac:chgData name="Prawin Phichitnitikorn" userId="9a60c5a28da5113d" providerId="LiveId" clId="{5B190BA7-5AD8-43F3-8B31-047B7ED96440}" dt="2019-06-13T17:34:29.092" v="682"/>
          <ac:picMkLst>
            <pc:docMk/>
            <pc:sldMk cId="3273893546" sldId="3528"/>
            <ac:picMk id="10" creationId="{EEC349AE-2CDC-4F66-AEA7-47C9734C61ED}"/>
          </ac:picMkLst>
        </pc:picChg>
      </pc:sldChg>
      <pc:sldChg chg="modSp">
        <pc:chgData name="Prawin Phichitnitikorn" userId="9a60c5a28da5113d" providerId="LiveId" clId="{5B190BA7-5AD8-43F3-8B31-047B7ED96440}" dt="2019-06-13T17:34:15.994" v="680" actId="20577"/>
        <pc:sldMkLst>
          <pc:docMk/>
          <pc:sldMk cId="749953929" sldId="3535"/>
        </pc:sldMkLst>
        <pc:spChg chg="mod">
          <ac:chgData name="Prawin Phichitnitikorn" userId="9a60c5a28da5113d" providerId="LiveId" clId="{5B190BA7-5AD8-43F3-8B31-047B7ED96440}" dt="2019-06-13T17:34:15.994" v="680" actId="20577"/>
          <ac:spMkLst>
            <pc:docMk/>
            <pc:sldMk cId="749953929" sldId="3535"/>
            <ac:spMk id="5" creationId="{6BD7BA40-E50D-4D9C-94D0-48D283A34C82}"/>
          </ac:spMkLst>
        </pc:spChg>
      </pc:sldChg>
      <pc:sldChg chg="del">
        <pc:chgData name="Prawin Phichitnitikorn" userId="9a60c5a28da5113d" providerId="LiveId" clId="{5B190BA7-5AD8-43F3-8B31-047B7ED96440}" dt="2019-06-13T16:47:16.159" v="23" actId="2696"/>
        <pc:sldMkLst>
          <pc:docMk/>
          <pc:sldMk cId="1002792414" sldId="3537"/>
        </pc:sldMkLst>
      </pc:sldChg>
      <pc:sldChg chg="del">
        <pc:chgData name="Prawin Phichitnitikorn" userId="9a60c5a28da5113d" providerId="LiveId" clId="{5B190BA7-5AD8-43F3-8B31-047B7ED96440}" dt="2019-06-13T16:50:36.088" v="39" actId="2696"/>
        <pc:sldMkLst>
          <pc:docMk/>
          <pc:sldMk cId="1842990618" sldId="3539"/>
        </pc:sldMkLst>
      </pc:sldChg>
      <pc:sldChg chg="del">
        <pc:chgData name="Prawin Phichitnitikorn" userId="9a60c5a28da5113d" providerId="LiveId" clId="{5B190BA7-5AD8-43F3-8B31-047B7ED96440}" dt="2019-06-13T16:50:48.157" v="51" actId="2696"/>
        <pc:sldMkLst>
          <pc:docMk/>
          <pc:sldMk cId="2305387235" sldId="3541"/>
        </pc:sldMkLst>
      </pc:sldChg>
      <pc:sldChg chg="del">
        <pc:chgData name="Prawin Phichitnitikorn" userId="9a60c5a28da5113d" providerId="LiveId" clId="{5B190BA7-5AD8-43F3-8B31-047B7ED96440}" dt="2019-06-13T16:50:53.782" v="55" actId="2696"/>
        <pc:sldMkLst>
          <pc:docMk/>
          <pc:sldMk cId="989402273" sldId="3543"/>
        </pc:sldMkLst>
      </pc:sldChg>
      <pc:sldChg chg="modSp del">
        <pc:chgData name="Prawin Phichitnitikorn" userId="9a60c5a28da5113d" providerId="LiveId" clId="{5B190BA7-5AD8-43F3-8B31-047B7ED96440}" dt="2019-06-13T16:50:56.303" v="56" actId="2696"/>
        <pc:sldMkLst>
          <pc:docMk/>
          <pc:sldMk cId="2651209293" sldId="3544"/>
        </pc:sldMkLst>
        <pc:spChg chg="mod">
          <ac:chgData name="Prawin Phichitnitikorn" userId="9a60c5a28da5113d" providerId="LiveId" clId="{5B190BA7-5AD8-43F3-8B31-047B7ED96440}" dt="2019-06-13T16:46:28.151" v="19" actId="20577"/>
          <ac:spMkLst>
            <pc:docMk/>
            <pc:sldMk cId="2651209293" sldId="3544"/>
            <ac:spMk id="2" creationId="{B56DDD12-CF8A-4C08-A667-915B53D4A5A3}"/>
          </ac:spMkLst>
        </pc:spChg>
      </pc:sldChg>
      <pc:sldChg chg="del">
        <pc:chgData name="Prawin Phichitnitikorn" userId="9a60c5a28da5113d" providerId="LiveId" clId="{5B190BA7-5AD8-43F3-8B31-047B7ED96440}" dt="2019-06-13T16:50:48.121" v="43" actId="2696"/>
        <pc:sldMkLst>
          <pc:docMk/>
          <pc:sldMk cId="4248552065" sldId="3546"/>
        </pc:sldMkLst>
      </pc:sldChg>
      <pc:sldChg chg="del">
        <pc:chgData name="Prawin Phichitnitikorn" userId="9a60c5a28da5113d" providerId="LiveId" clId="{5B190BA7-5AD8-43F3-8B31-047B7ED96440}" dt="2019-06-13T16:50:48.151" v="49" actId="2696"/>
        <pc:sldMkLst>
          <pc:docMk/>
          <pc:sldMk cId="3599104578" sldId="3547"/>
        </pc:sldMkLst>
      </pc:sldChg>
      <pc:sldChg chg="del">
        <pc:chgData name="Prawin Phichitnitikorn" userId="9a60c5a28da5113d" providerId="LiveId" clId="{5B190BA7-5AD8-43F3-8B31-047B7ED96440}" dt="2019-06-13T16:50:52.103" v="54" actId="2696"/>
        <pc:sldMkLst>
          <pc:docMk/>
          <pc:sldMk cId="2834758161" sldId="3549"/>
        </pc:sldMkLst>
      </pc:sldChg>
      <pc:sldChg chg="addSp delSp modSp">
        <pc:chgData name="Prawin Phichitnitikorn" userId="9a60c5a28da5113d" providerId="LiveId" clId="{5B190BA7-5AD8-43F3-8B31-047B7ED96440}" dt="2019-06-13T17:32:37.749" v="670" actId="1037"/>
        <pc:sldMkLst>
          <pc:docMk/>
          <pc:sldMk cId="1613544394" sldId="3551"/>
        </pc:sldMkLst>
        <pc:spChg chg="mod">
          <ac:chgData name="Prawin Phichitnitikorn" userId="9a60c5a28da5113d" providerId="LiveId" clId="{5B190BA7-5AD8-43F3-8B31-047B7ED96440}" dt="2019-06-13T17:15:25.334" v="323" actId="20577"/>
          <ac:spMkLst>
            <pc:docMk/>
            <pc:sldMk cId="1613544394" sldId="3551"/>
            <ac:spMk id="2" creationId="{03FB8FAA-DE71-4953-832D-EE6DE1D6BEEA}"/>
          </ac:spMkLst>
        </pc:spChg>
        <pc:spChg chg="add mod">
          <ac:chgData name="Prawin Phichitnitikorn" userId="9a60c5a28da5113d" providerId="LiveId" clId="{5B190BA7-5AD8-43F3-8B31-047B7ED96440}" dt="2019-06-13T17:32:33.050" v="648" actId="1037"/>
          <ac:spMkLst>
            <pc:docMk/>
            <pc:sldMk cId="1613544394" sldId="3551"/>
            <ac:spMk id="3" creationId="{4B91E5BC-6780-4852-BB1A-7469DD70DCD3}"/>
          </ac:spMkLst>
        </pc:spChg>
        <pc:spChg chg="add mod">
          <ac:chgData name="Prawin Phichitnitikorn" userId="9a60c5a28da5113d" providerId="LiveId" clId="{5B190BA7-5AD8-43F3-8B31-047B7ED96440}" dt="2019-06-13T17:19:24.446" v="428" actId="404"/>
          <ac:spMkLst>
            <pc:docMk/>
            <pc:sldMk cId="1613544394" sldId="3551"/>
            <ac:spMk id="10" creationId="{82DA0830-8376-476D-86E7-380971BBEDCF}"/>
          </ac:spMkLst>
        </pc:spChg>
        <pc:spChg chg="del">
          <ac:chgData name="Prawin Phichitnitikorn" userId="9a60c5a28da5113d" providerId="LiveId" clId="{5B190BA7-5AD8-43F3-8B31-047B7ED96440}" dt="2019-06-13T16:51:47.269" v="63" actId="478"/>
          <ac:spMkLst>
            <pc:docMk/>
            <pc:sldMk cId="1613544394" sldId="3551"/>
            <ac:spMk id="12" creationId="{AC04D06C-CCEC-40BD-98EA-49426A926571}"/>
          </ac:spMkLst>
        </pc:spChg>
        <pc:spChg chg="del">
          <ac:chgData name="Prawin Phichitnitikorn" userId="9a60c5a28da5113d" providerId="LiveId" clId="{5B190BA7-5AD8-43F3-8B31-047B7ED96440}" dt="2019-06-13T16:51:47.269" v="63" actId="478"/>
          <ac:spMkLst>
            <pc:docMk/>
            <pc:sldMk cId="1613544394" sldId="3551"/>
            <ac:spMk id="13" creationId="{A2642422-B64A-441A-8ED5-D41257C0FCCB}"/>
          </ac:spMkLst>
        </pc:spChg>
        <pc:spChg chg="del">
          <ac:chgData name="Prawin Phichitnitikorn" userId="9a60c5a28da5113d" providerId="LiveId" clId="{5B190BA7-5AD8-43F3-8B31-047B7ED96440}" dt="2019-06-13T16:51:38" v="62" actId="478"/>
          <ac:spMkLst>
            <pc:docMk/>
            <pc:sldMk cId="1613544394" sldId="3551"/>
            <ac:spMk id="15" creationId="{BA0E98C3-0708-41FA-A942-F6DDF1519544}"/>
          </ac:spMkLst>
        </pc:spChg>
        <pc:spChg chg="add mod">
          <ac:chgData name="Prawin Phichitnitikorn" userId="9a60c5a28da5113d" providerId="LiveId" clId="{5B190BA7-5AD8-43F3-8B31-047B7ED96440}" dt="2019-06-13T17:32:33.050" v="648" actId="1037"/>
          <ac:spMkLst>
            <pc:docMk/>
            <pc:sldMk cId="1613544394" sldId="3551"/>
            <ac:spMk id="16" creationId="{CFE4E086-92E2-47B7-888A-65DFFBC8E4C3}"/>
          </ac:spMkLst>
        </pc:spChg>
        <pc:spChg chg="del">
          <ac:chgData name="Prawin Phichitnitikorn" userId="9a60c5a28da5113d" providerId="LiveId" clId="{5B190BA7-5AD8-43F3-8B31-047B7ED96440}" dt="2019-06-13T16:51:38" v="62" actId="478"/>
          <ac:spMkLst>
            <pc:docMk/>
            <pc:sldMk cId="1613544394" sldId="3551"/>
            <ac:spMk id="17" creationId="{905BD2E3-699C-4CEB-9CF4-E35336DC52BC}"/>
          </ac:spMkLst>
        </pc:spChg>
        <pc:spChg chg="del">
          <ac:chgData name="Prawin Phichitnitikorn" userId="9a60c5a28da5113d" providerId="LiveId" clId="{5B190BA7-5AD8-43F3-8B31-047B7ED96440}" dt="2019-06-13T16:51:38" v="62" actId="478"/>
          <ac:spMkLst>
            <pc:docMk/>
            <pc:sldMk cId="1613544394" sldId="3551"/>
            <ac:spMk id="18" creationId="{BAD68734-49EA-4F4B-9C66-B23B5C840DD9}"/>
          </ac:spMkLst>
        </pc:spChg>
        <pc:spChg chg="del">
          <ac:chgData name="Prawin Phichitnitikorn" userId="9a60c5a28da5113d" providerId="LiveId" clId="{5B190BA7-5AD8-43F3-8B31-047B7ED96440}" dt="2019-06-13T16:51:38" v="62" actId="478"/>
          <ac:spMkLst>
            <pc:docMk/>
            <pc:sldMk cId="1613544394" sldId="3551"/>
            <ac:spMk id="19" creationId="{E0689979-68E0-42E1-B0CB-6F29F1B366BB}"/>
          </ac:spMkLst>
        </pc:spChg>
        <pc:spChg chg="del">
          <ac:chgData name="Prawin Phichitnitikorn" userId="9a60c5a28da5113d" providerId="LiveId" clId="{5B190BA7-5AD8-43F3-8B31-047B7ED96440}" dt="2019-06-13T16:51:38" v="62" actId="478"/>
          <ac:spMkLst>
            <pc:docMk/>
            <pc:sldMk cId="1613544394" sldId="3551"/>
            <ac:spMk id="21" creationId="{DDC516F4-7D44-4AD2-8F21-F6D9142C9D96}"/>
          </ac:spMkLst>
        </pc:spChg>
        <pc:spChg chg="add mod">
          <ac:chgData name="Prawin Phichitnitikorn" userId="9a60c5a28da5113d" providerId="LiveId" clId="{5B190BA7-5AD8-43F3-8B31-047B7ED96440}" dt="2019-06-13T17:32:33.050" v="648" actId="1037"/>
          <ac:spMkLst>
            <pc:docMk/>
            <pc:sldMk cId="1613544394" sldId="3551"/>
            <ac:spMk id="23" creationId="{00263EF4-729B-47B6-A385-EBA5BE618EF6}"/>
          </ac:spMkLst>
        </pc:spChg>
        <pc:spChg chg="add del mod">
          <ac:chgData name="Prawin Phichitnitikorn" userId="9a60c5a28da5113d" providerId="LiveId" clId="{5B190BA7-5AD8-43F3-8B31-047B7ED96440}" dt="2019-06-13T17:21:21.041" v="445" actId="478"/>
          <ac:spMkLst>
            <pc:docMk/>
            <pc:sldMk cId="1613544394" sldId="3551"/>
            <ac:spMk id="25" creationId="{F936AE6C-1183-4A4F-B42A-AC0A5B6B833B}"/>
          </ac:spMkLst>
        </pc:spChg>
        <pc:spChg chg="del">
          <ac:chgData name="Prawin Phichitnitikorn" userId="9a60c5a28da5113d" providerId="LiveId" clId="{5B190BA7-5AD8-43F3-8B31-047B7ED96440}" dt="2019-06-13T16:51:38" v="62" actId="478"/>
          <ac:spMkLst>
            <pc:docMk/>
            <pc:sldMk cId="1613544394" sldId="3551"/>
            <ac:spMk id="27" creationId="{17FD7D20-8FEE-4634-85DD-EA5DEF56DF44}"/>
          </ac:spMkLst>
        </pc:spChg>
        <pc:spChg chg="del">
          <ac:chgData name="Prawin Phichitnitikorn" userId="9a60c5a28da5113d" providerId="LiveId" clId="{5B190BA7-5AD8-43F3-8B31-047B7ED96440}" dt="2019-06-13T16:51:38" v="62" actId="478"/>
          <ac:spMkLst>
            <pc:docMk/>
            <pc:sldMk cId="1613544394" sldId="3551"/>
            <ac:spMk id="28" creationId="{1A8A3551-DFF9-4E60-9A73-A921AB22A700}"/>
          </ac:spMkLst>
        </pc:spChg>
        <pc:spChg chg="add mod">
          <ac:chgData name="Prawin Phichitnitikorn" userId="9a60c5a28da5113d" providerId="LiveId" clId="{5B190BA7-5AD8-43F3-8B31-047B7ED96440}" dt="2019-06-13T17:19:55.883" v="433" actId="12788"/>
          <ac:spMkLst>
            <pc:docMk/>
            <pc:sldMk cId="1613544394" sldId="3551"/>
            <ac:spMk id="29" creationId="{C4FBAFF2-847A-4889-8004-C40649A54182}"/>
          </ac:spMkLst>
        </pc:spChg>
        <pc:spChg chg="add mod">
          <ac:chgData name="Prawin Phichitnitikorn" userId="9a60c5a28da5113d" providerId="LiveId" clId="{5B190BA7-5AD8-43F3-8B31-047B7ED96440}" dt="2019-06-13T17:31:16.705" v="599" actId="20577"/>
          <ac:spMkLst>
            <pc:docMk/>
            <pc:sldMk cId="1613544394" sldId="3551"/>
            <ac:spMk id="34" creationId="{C8D62805-144D-4772-9F9E-6A9742E47830}"/>
          </ac:spMkLst>
        </pc:spChg>
        <pc:spChg chg="add mod">
          <ac:chgData name="Prawin Phichitnitikorn" userId="9a60c5a28da5113d" providerId="LiveId" clId="{5B190BA7-5AD8-43F3-8B31-047B7ED96440}" dt="2019-06-13T17:32:16.373" v="629" actId="14100"/>
          <ac:spMkLst>
            <pc:docMk/>
            <pc:sldMk cId="1613544394" sldId="3551"/>
            <ac:spMk id="35" creationId="{4B4DF6C6-AFA3-45A1-9602-69B31FE80475}"/>
          </ac:spMkLst>
        </pc:spChg>
        <pc:spChg chg="add del mod">
          <ac:chgData name="Prawin Phichitnitikorn" userId="9a60c5a28da5113d" providerId="LiveId" clId="{5B190BA7-5AD8-43F3-8B31-047B7ED96440}" dt="2019-06-13T17:31:44.829" v="608" actId="478"/>
          <ac:spMkLst>
            <pc:docMk/>
            <pc:sldMk cId="1613544394" sldId="3551"/>
            <ac:spMk id="36" creationId="{9F2A46BB-A8A5-427A-8062-A07B6B0C0062}"/>
          </ac:spMkLst>
        </pc:spChg>
        <pc:spChg chg="add mod">
          <ac:chgData name="Prawin Phichitnitikorn" userId="9a60c5a28da5113d" providerId="LiveId" clId="{5B190BA7-5AD8-43F3-8B31-047B7ED96440}" dt="2019-06-13T17:30:11.419" v="591" actId="1076"/>
          <ac:spMkLst>
            <pc:docMk/>
            <pc:sldMk cId="1613544394" sldId="3551"/>
            <ac:spMk id="47" creationId="{0AE5605C-BF80-4F9A-91E2-230AAF451570}"/>
          </ac:spMkLst>
        </pc:spChg>
        <pc:spChg chg="add del">
          <ac:chgData name="Prawin Phichitnitikorn" userId="9a60c5a28da5113d" providerId="LiveId" clId="{5B190BA7-5AD8-43F3-8B31-047B7ED96440}" dt="2019-06-13T17:20:58.360" v="441"/>
          <ac:spMkLst>
            <pc:docMk/>
            <pc:sldMk cId="1613544394" sldId="3551"/>
            <ac:spMk id="48" creationId="{2B1B7083-5855-4ADF-823F-0B54A52AC612}"/>
          </ac:spMkLst>
        </pc:spChg>
        <pc:spChg chg="add mod">
          <ac:chgData name="Prawin Phichitnitikorn" userId="9a60c5a28da5113d" providerId="LiveId" clId="{5B190BA7-5AD8-43F3-8B31-047B7ED96440}" dt="2019-06-13T17:32:11.875" v="628" actId="1036"/>
          <ac:spMkLst>
            <pc:docMk/>
            <pc:sldMk cId="1613544394" sldId="3551"/>
            <ac:spMk id="49" creationId="{F9B814F7-871A-4A65-80C5-EAADBFA212D1}"/>
          </ac:spMkLst>
        </pc:spChg>
        <pc:grpChg chg="add mod">
          <ac:chgData name="Prawin Phichitnitikorn" userId="9a60c5a28da5113d" providerId="LiveId" clId="{5B190BA7-5AD8-43F3-8B31-047B7ED96440}" dt="2019-06-13T17:32:33.050" v="648" actId="1037"/>
          <ac:grpSpMkLst>
            <pc:docMk/>
            <pc:sldMk cId="1613544394" sldId="3551"/>
            <ac:grpSpMk id="24" creationId="{9E0FB7B4-C1F6-4FB9-9599-244ABC3C5AD3}"/>
          </ac:grpSpMkLst>
        </pc:grpChg>
        <pc:grpChg chg="add mod">
          <ac:chgData name="Prawin Phichitnitikorn" userId="9a60c5a28da5113d" providerId="LiveId" clId="{5B190BA7-5AD8-43F3-8B31-047B7ED96440}" dt="2019-06-13T17:32:33.050" v="648" actId="1037"/>
          <ac:grpSpMkLst>
            <pc:docMk/>
            <pc:sldMk cId="1613544394" sldId="3551"/>
            <ac:grpSpMk id="26" creationId="{889AA997-8161-494C-89BF-8D676254A436}"/>
          </ac:grpSpMkLst>
        </pc:grpChg>
        <pc:grpChg chg="add del mod">
          <ac:chgData name="Prawin Phichitnitikorn" userId="9a60c5a28da5113d" providerId="LiveId" clId="{5B190BA7-5AD8-43F3-8B31-047B7ED96440}" dt="2019-06-13T17:31:43.119" v="607" actId="478"/>
          <ac:grpSpMkLst>
            <pc:docMk/>
            <pc:sldMk cId="1613544394" sldId="3551"/>
            <ac:grpSpMk id="37" creationId="{55AF7F43-EC79-464A-8332-54A7AF5E245A}"/>
          </ac:grpSpMkLst>
        </pc:grpChg>
        <pc:graphicFrameChg chg="del">
          <ac:chgData name="Prawin Phichitnitikorn" userId="9a60c5a28da5113d" providerId="LiveId" clId="{5B190BA7-5AD8-43F3-8B31-047B7ED96440}" dt="2019-06-13T16:51:49.702" v="64" actId="478"/>
          <ac:graphicFrameMkLst>
            <pc:docMk/>
            <pc:sldMk cId="1613544394" sldId="3551"/>
            <ac:graphicFrameMk id="4" creationId="{E81C626B-2CFE-4886-9493-541C2A43B955}"/>
          </ac:graphicFrameMkLst>
        </pc:graphicFrameChg>
        <pc:picChg chg="add del mod">
          <ac:chgData name="Prawin Phichitnitikorn" userId="9a60c5a28da5113d" providerId="LiveId" clId="{5B190BA7-5AD8-43F3-8B31-047B7ED96440}" dt="2019-06-13T17:14:42.217" v="292" actId="478"/>
          <ac:picMkLst>
            <pc:docMk/>
            <pc:sldMk cId="1613544394" sldId="3551"/>
            <ac:picMk id="5" creationId="{8501D0B0-20BF-467E-B9E3-0EB39E157A27}"/>
          </ac:picMkLst>
        </pc:picChg>
        <pc:picChg chg="add mod">
          <ac:chgData name="Prawin Phichitnitikorn" userId="9a60c5a28da5113d" providerId="LiveId" clId="{5B190BA7-5AD8-43F3-8B31-047B7ED96440}" dt="2019-06-13T17:19:36.055" v="430" actId="1076"/>
          <ac:picMkLst>
            <pc:docMk/>
            <pc:sldMk cId="1613544394" sldId="3551"/>
            <ac:picMk id="8" creationId="{201843B4-A606-448E-A771-6F0B562427AF}"/>
          </ac:picMkLst>
        </pc:picChg>
        <pc:picChg chg="add mod">
          <ac:chgData name="Prawin Phichitnitikorn" userId="9a60c5a28da5113d" providerId="LiveId" clId="{5B190BA7-5AD8-43F3-8B31-047B7ED96440}" dt="2019-06-13T17:19:55.883" v="433" actId="12788"/>
          <ac:picMkLst>
            <pc:docMk/>
            <pc:sldMk cId="1613544394" sldId="3551"/>
            <ac:picMk id="14" creationId="{2D66AC7E-A2F1-48B8-884D-27F3C7770A0E}"/>
          </ac:picMkLst>
        </pc:picChg>
        <pc:picChg chg="del">
          <ac:chgData name="Prawin Phichitnitikorn" userId="9a60c5a28da5113d" providerId="LiveId" clId="{5B190BA7-5AD8-43F3-8B31-047B7ED96440}" dt="2019-06-13T16:51:38" v="62" actId="478"/>
          <ac:picMkLst>
            <pc:docMk/>
            <pc:sldMk cId="1613544394" sldId="3551"/>
            <ac:picMk id="20" creationId="{FA769EDF-38B7-4BF2-B72B-0C1D15649D91}"/>
          </ac:picMkLst>
        </pc:picChg>
        <pc:picChg chg="add mod">
          <ac:chgData name="Prawin Phichitnitikorn" userId="9a60c5a28da5113d" providerId="LiveId" clId="{5B190BA7-5AD8-43F3-8B31-047B7ED96440}" dt="2019-06-13T17:32:37.749" v="670" actId="1037"/>
          <ac:picMkLst>
            <pc:docMk/>
            <pc:sldMk cId="1613544394" sldId="3551"/>
            <ac:picMk id="22" creationId="{D1B9D878-596F-4507-816D-0C8689716792}"/>
          </ac:picMkLst>
        </pc:picChg>
        <pc:picChg chg="del">
          <ac:chgData name="Prawin Phichitnitikorn" userId="9a60c5a28da5113d" providerId="LiveId" clId="{5B190BA7-5AD8-43F3-8B31-047B7ED96440}" dt="2019-06-13T16:51:38" v="62" actId="478"/>
          <ac:picMkLst>
            <pc:docMk/>
            <pc:sldMk cId="1613544394" sldId="3551"/>
            <ac:picMk id="7172" creationId="{1BFC2DE9-B81C-4F24-A40E-95FD4B6BB1A1}"/>
          </ac:picMkLst>
        </pc:picChg>
        <pc:picChg chg="del">
          <ac:chgData name="Prawin Phichitnitikorn" userId="9a60c5a28da5113d" providerId="LiveId" clId="{5B190BA7-5AD8-43F3-8B31-047B7ED96440}" dt="2019-06-13T16:51:38" v="62" actId="478"/>
          <ac:picMkLst>
            <pc:docMk/>
            <pc:sldMk cId="1613544394" sldId="3551"/>
            <ac:picMk id="7174" creationId="{0AC01CE5-F9FE-47B5-A23D-B843E96F8B68}"/>
          </ac:picMkLst>
        </pc:picChg>
        <pc:picChg chg="del">
          <ac:chgData name="Prawin Phichitnitikorn" userId="9a60c5a28da5113d" providerId="LiveId" clId="{5B190BA7-5AD8-43F3-8B31-047B7ED96440}" dt="2019-06-13T16:51:38" v="62" actId="478"/>
          <ac:picMkLst>
            <pc:docMk/>
            <pc:sldMk cId="1613544394" sldId="3551"/>
            <ac:picMk id="7176" creationId="{25895690-57A0-4479-8331-257388D4F5A5}"/>
          </ac:picMkLst>
        </pc:picChg>
        <pc:picChg chg="del">
          <ac:chgData name="Prawin Phichitnitikorn" userId="9a60c5a28da5113d" providerId="LiveId" clId="{5B190BA7-5AD8-43F3-8B31-047B7ED96440}" dt="2019-06-13T16:51:38" v="62" actId="478"/>
          <ac:picMkLst>
            <pc:docMk/>
            <pc:sldMk cId="1613544394" sldId="3551"/>
            <ac:picMk id="7178" creationId="{AD88A31C-D8A4-41AB-8EF6-817591204FDB}"/>
          </ac:picMkLst>
        </pc:picChg>
        <pc:cxnChg chg="del">
          <ac:chgData name="Prawin Phichitnitikorn" userId="9a60c5a28da5113d" providerId="LiveId" clId="{5B190BA7-5AD8-43F3-8B31-047B7ED96440}" dt="2019-06-13T16:51:38" v="62" actId="478"/>
          <ac:cxnSpMkLst>
            <pc:docMk/>
            <pc:sldMk cId="1613544394" sldId="3551"/>
            <ac:cxnSpMk id="7" creationId="{1ABB6665-1A1A-48A9-BF23-3D7E03F4A883}"/>
          </ac:cxnSpMkLst>
        </pc:cxnChg>
        <pc:cxnChg chg="del">
          <ac:chgData name="Prawin Phichitnitikorn" userId="9a60c5a28da5113d" providerId="LiveId" clId="{5B190BA7-5AD8-43F3-8B31-047B7ED96440}" dt="2019-06-13T16:51:38" v="62" actId="478"/>
          <ac:cxnSpMkLst>
            <pc:docMk/>
            <pc:sldMk cId="1613544394" sldId="3551"/>
            <ac:cxnSpMk id="9" creationId="{44273A06-0F6E-42F9-BA81-D7890EF2E545}"/>
          </ac:cxnSpMkLst>
        </pc:cxnChg>
      </pc:sldChg>
      <pc:sldChg chg="del">
        <pc:chgData name="Prawin Phichitnitikorn" userId="9a60c5a28da5113d" providerId="LiveId" clId="{5B190BA7-5AD8-43F3-8B31-047B7ED96440}" dt="2019-06-13T16:50:48.146" v="47" actId="2696"/>
        <pc:sldMkLst>
          <pc:docMk/>
          <pc:sldMk cId="2498475888" sldId="3552"/>
        </pc:sldMkLst>
      </pc:sldChg>
      <pc:sldChg chg="del">
        <pc:chgData name="Prawin Phichitnitikorn" userId="9a60c5a28da5113d" providerId="LiveId" clId="{5B190BA7-5AD8-43F3-8B31-047B7ED96440}" dt="2019-06-13T16:50:48.118" v="42" actId="2696"/>
        <pc:sldMkLst>
          <pc:docMk/>
          <pc:sldMk cId="2875198673" sldId="3555"/>
        </pc:sldMkLst>
      </pc:sldChg>
      <pc:sldChg chg="del">
        <pc:chgData name="Prawin Phichitnitikorn" userId="9a60c5a28da5113d" providerId="LiveId" clId="{5B190BA7-5AD8-43F3-8B31-047B7ED96440}" dt="2019-06-13T16:50:31.981" v="29" actId="2696"/>
        <pc:sldMkLst>
          <pc:docMk/>
          <pc:sldMk cId="3362038772" sldId="3558"/>
        </pc:sldMkLst>
      </pc:sldChg>
      <pc:sldChg chg="del">
        <pc:chgData name="Prawin Phichitnitikorn" userId="9a60c5a28da5113d" providerId="LiveId" clId="{5B190BA7-5AD8-43F3-8B31-047B7ED96440}" dt="2019-06-13T16:50:31.988" v="32" actId="2696"/>
        <pc:sldMkLst>
          <pc:docMk/>
          <pc:sldMk cId="4112921835" sldId="3559"/>
        </pc:sldMkLst>
      </pc:sldChg>
      <pc:sldChg chg="del">
        <pc:chgData name="Prawin Phichitnitikorn" userId="9a60c5a28da5113d" providerId="LiveId" clId="{5B190BA7-5AD8-43F3-8B31-047B7ED96440}" dt="2019-06-13T16:50:31.968" v="28" actId="2696"/>
        <pc:sldMkLst>
          <pc:docMk/>
          <pc:sldMk cId="3840149963" sldId="3560"/>
        </pc:sldMkLst>
      </pc:sldChg>
      <pc:sldChg chg="del">
        <pc:chgData name="Prawin Phichitnitikorn" userId="9a60c5a28da5113d" providerId="LiveId" clId="{5B190BA7-5AD8-43F3-8B31-047B7ED96440}" dt="2019-06-13T16:50:48.148" v="48" actId="2696"/>
        <pc:sldMkLst>
          <pc:docMk/>
          <pc:sldMk cId="935247817" sldId="3562"/>
        </pc:sldMkLst>
      </pc:sldChg>
      <pc:sldChg chg="del">
        <pc:chgData name="Prawin Phichitnitikorn" userId="9a60c5a28da5113d" providerId="LiveId" clId="{5B190BA7-5AD8-43F3-8B31-047B7ED96440}" dt="2019-06-13T16:50:48.143" v="46" actId="2696"/>
        <pc:sldMkLst>
          <pc:docMk/>
          <pc:sldMk cId="3518757597" sldId="3563"/>
        </pc:sldMkLst>
      </pc:sldChg>
      <pc:sldChg chg="del">
        <pc:chgData name="Prawin Phichitnitikorn" userId="9a60c5a28da5113d" providerId="LiveId" clId="{5B190BA7-5AD8-43F3-8B31-047B7ED96440}" dt="2019-06-13T16:50:31.995" v="34" actId="2696"/>
        <pc:sldMkLst>
          <pc:docMk/>
          <pc:sldMk cId="1363282879" sldId="3564"/>
        </pc:sldMkLst>
      </pc:sldChg>
      <pc:sldChg chg="del">
        <pc:chgData name="Prawin Phichitnitikorn" userId="9a60c5a28da5113d" providerId="LiveId" clId="{5B190BA7-5AD8-43F3-8B31-047B7ED96440}" dt="2019-06-13T16:50:31.998" v="35" actId="2696"/>
        <pc:sldMkLst>
          <pc:docMk/>
          <pc:sldMk cId="329528979" sldId="3566"/>
        </pc:sldMkLst>
      </pc:sldChg>
      <pc:sldChg chg="del">
        <pc:chgData name="Prawin Phichitnitikorn" userId="9a60c5a28da5113d" providerId="LiveId" clId="{5B190BA7-5AD8-43F3-8B31-047B7ED96440}" dt="2019-06-13T16:50:31.935" v="24" actId="2696"/>
        <pc:sldMkLst>
          <pc:docMk/>
          <pc:sldMk cId="4123947175" sldId="3567"/>
        </pc:sldMkLst>
      </pc:sldChg>
      <pc:sldChg chg="del">
        <pc:chgData name="Prawin Phichitnitikorn" userId="9a60c5a28da5113d" providerId="LiveId" clId="{5B190BA7-5AD8-43F3-8B31-047B7ED96440}" dt="2019-06-13T16:50:31.991" v="33" actId="2696"/>
        <pc:sldMkLst>
          <pc:docMk/>
          <pc:sldMk cId="211508318" sldId="3568"/>
        </pc:sldMkLst>
      </pc:sldChg>
      <pc:sldChg chg="del">
        <pc:chgData name="Prawin Phichitnitikorn" userId="9a60c5a28da5113d" providerId="LiveId" clId="{5B190BA7-5AD8-43F3-8B31-047B7ED96440}" dt="2019-06-13T16:50:48.140" v="45" actId="2696"/>
        <pc:sldMkLst>
          <pc:docMk/>
          <pc:sldMk cId="2844607358" sldId="3570"/>
        </pc:sldMkLst>
      </pc:sldChg>
      <pc:sldChg chg="del">
        <pc:chgData name="Prawin Phichitnitikorn" userId="9a60c5a28da5113d" providerId="LiveId" clId="{5B190BA7-5AD8-43F3-8B31-047B7ED96440}" dt="2019-06-13T16:51:10.559" v="60" actId="2696"/>
        <pc:sldMkLst>
          <pc:docMk/>
          <pc:sldMk cId="1560291161" sldId="3571"/>
        </pc:sldMkLst>
      </pc:sldChg>
      <pc:sldChg chg="addSp delSp modSp add del">
        <pc:chgData name="Prawin Phichitnitikorn" userId="9a60c5a28da5113d" providerId="LiveId" clId="{5B190BA7-5AD8-43F3-8B31-047B7ED96440}" dt="2019-06-13T17:21:59.433" v="448" actId="2696"/>
        <pc:sldMkLst>
          <pc:docMk/>
          <pc:sldMk cId="165878482" sldId="3572"/>
        </pc:sldMkLst>
        <pc:spChg chg="del">
          <ac:chgData name="Prawin Phichitnitikorn" userId="9a60c5a28da5113d" providerId="LiveId" clId="{5B190BA7-5AD8-43F3-8B31-047B7ED96440}" dt="2019-06-13T16:51:16.515" v="61"/>
          <ac:spMkLst>
            <pc:docMk/>
            <pc:sldMk cId="165878482" sldId="3572"/>
            <ac:spMk id="2" creationId="{95BAD468-CE5A-4A74-A1CC-FFAAFBCB320E}"/>
          </ac:spMkLst>
        </pc:spChg>
        <pc:spChg chg="add mod">
          <ac:chgData name="Prawin Phichitnitikorn" userId="9a60c5a28da5113d" providerId="LiveId" clId="{5B190BA7-5AD8-43F3-8B31-047B7ED96440}" dt="2019-06-13T16:51:16.515" v="61"/>
          <ac:spMkLst>
            <pc:docMk/>
            <pc:sldMk cId="165878482" sldId="3572"/>
            <ac:spMk id="3" creationId="{40D82D30-EFA8-4BD1-901E-26201534F794}"/>
          </ac:spMkLst>
        </pc:spChg>
      </pc:sldChg>
      <pc:sldChg chg="del">
        <pc:chgData name="Prawin Phichitnitikorn" userId="9a60c5a28da5113d" providerId="LiveId" clId="{5B190BA7-5AD8-43F3-8B31-047B7ED96440}" dt="2019-06-13T16:50:48.153" v="50" actId="2696"/>
        <pc:sldMkLst>
          <pc:docMk/>
          <pc:sldMk cId="2628272821" sldId="3572"/>
        </pc:sldMkLst>
      </pc:sldChg>
      <pc:sldChg chg="addSp delSp modSp add del">
        <pc:chgData name="Prawin Phichitnitikorn" userId="9a60c5a28da5113d" providerId="LiveId" clId="{5B190BA7-5AD8-43F3-8B31-047B7ED96440}" dt="2019-06-13T17:28:28.879" v="547" actId="403"/>
        <pc:sldMkLst>
          <pc:docMk/>
          <pc:sldMk cId="805138991" sldId="3573"/>
        </pc:sldMkLst>
        <pc:spChg chg="mod">
          <ac:chgData name="Prawin Phichitnitikorn" userId="9a60c5a28da5113d" providerId="LiveId" clId="{5B190BA7-5AD8-43F3-8B31-047B7ED96440}" dt="2019-06-13T17:24:47.197" v="473" actId="2711"/>
          <ac:spMkLst>
            <pc:docMk/>
            <pc:sldMk cId="805138991" sldId="3573"/>
            <ac:spMk id="2" creationId="{1B8B8DFD-A2F1-47E2-BBE0-39C74E171D26}"/>
          </ac:spMkLst>
        </pc:spChg>
        <pc:spChg chg="add mod">
          <ac:chgData name="Prawin Phichitnitikorn" userId="9a60c5a28da5113d" providerId="LiveId" clId="{5B190BA7-5AD8-43F3-8B31-047B7ED96440}" dt="2019-06-13T17:24:47.197" v="473" actId="2711"/>
          <ac:spMkLst>
            <pc:docMk/>
            <pc:sldMk cId="805138991" sldId="3573"/>
            <ac:spMk id="3" creationId="{F3BAEA9B-BE74-404F-929D-E3A2D63B91B1}"/>
          </ac:spMkLst>
        </pc:spChg>
        <pc:spChg chg="add del mod">
          <ac:chgData name="Prawin Phichitnitikorn" userId="9a60c5a28da5113d" providerId="LiveId" clId="{5B190BA7-5AD8-43F3-8B31-047B7ED96440}" dt="2019-06-13T17:23:12.203" v="456"/>
          <ac:spMkLst>
            <pc:docMk/>
            <pc:sldMk cId="805138991" sldId="3573"/>
            <ac:spMk id="5" creationId="{054907FC-5B4D-4920-95D1-806AD1C90B9C}"/>
          </ac:spMkLst>
        </pc:spChg>
        <pc:spChg chg="add del mod">
          <ac:chgData name="Prawin Phichitnitikorn" userId="9a60c5a28da5113d" providerId="LiveId" clId="{5B190BA7-5AD8-43F3-8B31-047B7ED96440}" dt="2019-06-13T17:23:12.203" v="456"/>
          <ac:spMkLst>
            <pc:docMk/>
            <pc:sldMk cId="805138991" sldId="3573"/>
            <ac:spMk id="6" creationId="{90D0C13F-5667-4657-ACD2-9D75B48B9EAC}"/>
          </ac:spMkLst>
        </pc:spChg>
        <pc:spChg chg="add del mod">
          <ac:chgData name="Prawin Phichitnitikorn" userId="9a60c5a28da5113d" providerId="LiveId" clId="{5B190BA7-5AD8-43F3-8B31-047B7ED96440}" dt="2019-06-13T17:23:33.884" v="461"/>
          <ac:spMkLst>
            <pc:docMk/>
            <pc:sldMk cId="805138991" sldId="3573"/>
            <ac:spMk id="7" creationId="{DFC52925-35ED-4FAE-82DC-01751A40CE1D}"/>
          </ac:spMkLst>
        </pc:spChg>
        <pc:spChg chg="add del mod">
          <ac:chgData name="Prawin Phichitnitikorn" userId="9a60c5a28da5113d" providerId="LiveId" clId="{5B190BA7-5AD8-43F3-8B31-047B7ED96440}" dt="2019-06-13T17:23:33.884" v="461"/>
          <ac:spMkLst>
            <pc:docMk/>
            <pc:sldMk cId="805138991" sldId="3573"/>
            <ac:spMk id="8" creationId="{E6D78AE1-76FE-49F6-A6F2-9AA12E617E3C}"/>
          </ac:spMkLst>
        </pc:spChg>
        <pc:spChg chg="add del mod">
          <ac:chgData name="Prawin Phichitnitikorn" userId="9a60c5a28da5113d" providerId="LiveId" clId="{5B190BA7-5AD8-43F3-8B31-047B7ED96440}" dt="2019-06-13T17:24:03.678" v="468"/>
          <ac:spMkLst>
            <pc:docMk/>
            <pc:sldMk cId="805138991" sldId="3573"/>
            <ac:spMk id="9" creationId="{88C13655-A2DB-4380-B49F-65AA8DE3C367}"/>
          </ac:spMkLst>
        </pc:spChg>
        <pc:spChg chg="add mod">
          <ac:chgData name="Prawin Phichitnitikorn" userId="9a60c5a28da5113d" providerId="LiveId" clId="{5B190BA7-5AD8-43F3-8B31-047B7ED96440}" dt="2019-06-13T17:28:28.879" v="547" actId="403"/>
          <ac:spMkLst>
            <pc:docMk/>
            <pc:sldMk cId="805138991" sldId="3573"/>
            <ac:spMk id="10" creationId="{4D5F4380-D67C-46B2-AD8B-6733836B9C6F}"/>
          </ac:spMkLst>
        </pc:spChg>
        <pc:spChg chg="add mod">
          <ac:chgData name="Prawin Phichitnitikorn" userId="9a60c5a28da5113d" providerId="LiveId" clId="{5B190BA7-5AD8-43F3-8B31-047B7ED96440}" dt="2019-06-13T17:27:25.855" v="528" actId="1036"/>
          <ac:spMkLst>
            <pc:docMk/>
            <pc:sldMk cId="805138991" sldId="3573"/>
            <ac:spMk id="16" creationId="{6471EA99-1E70-4B9B-8934-6B53CAEA84B0}"/>
          </ac:spMkLst>
        </pc:spChg>
        <pc:spChg chg="mod">
          <ac:chgData name="Prawin Phichitnitikorn" userId="9a60c5a28da5113d" providerId="LiveId" clId="{5B190BA7-5AD8-43F3-8B31-047B7ED96440}" dt="2019-06-13T17:25:01.991" v="482" actId="404"/>
          <ac:spMkLst>
            <pc:docMk/>
            <pc:sldMk cId="805138991" sldId="3573"/>
            <ac:spMk id="18" creationId="{2D5ACA6C-1ADC-4359-BB5D-CCE05CBB3B77}"/>
          </ac:spMkLst>
        </pc:spChg>
        <pc:spChg chg="mod">
          <ac:chgData name="Prawin Phichitnitikorn" userId="9a60c5a28da5113d" providerId="LiveId" clId="{5B190BA7-5AD8-43F3-8B31-047B7ED96440}" dt="2019-06-13T17:26:29.910" v="499" actId="122"/>
          <ac:spMkLst>
            <pc:docMk/>
            <pc:sldMk cId="805138991" sldId="3573"/>
            <ac:spMk id="19" creationId="{F76B0E23-B78E-4E34-80D4-E00BF325C2D1}"/>
          </ac:spMkLst>
        </pc:spChg>
        <pc:spChg chg="mod">
          <ac:chgData name="Prawin Phichitnitikorn" userId="9a60c5a28da5113d" providerId="LiveId" clId="{5B190BA7-5AD8-43F3-8B31-047B7ED96440}" dt="2019-06-13T17:25:01.991" v="482" actId="404"/>
          <ac:spMkLst>
            <pc:docMk/>
            <pc:sldMk cId="805138991" sldId="3573"/>
            <ac:spMk id="20" creationId="{27FA72A5-BF9B-480C-8231-CE36404BB958}"/>
          </ac:spMkLst>
        </pc:spChg>
        <pc:grpChg chg="add mod">
          <ac:chgData name="Prawin Phichitnitikorn" userId="9a60c5a28da5113d" providerId="LiveId" clId="{5B190BA7-5AD8-43F3-8B31-047B7ED96440}" dt="2019-06-13T17:27:25.855" v="528" actId="1036"/>
          <ac:grpSpMkLst>
            <pc:docMk/>
            <pc:sldMk cId="805138991" sldId="3573"/>
            <ac:grpSpMk id="17" creationId="{17A7A8A3-E6CE-4DA2-A043-DB72BAF571BB}"/>
          </ac:grpSpMkLst>
        </pc:grpChg>
        <pc:picChg chg="add del mod">
          <ac:chgData name="Prawin Phichitnitikorn" userId="9a60c5a28da5113d" providerId="LiveId" clId="{5B190BA7-5AD8-43F3-8B31-047B7ED96440}" dt="2019-06-13T17:23:16.078" v="459"/>
          <ac:picMkLst>
            <pc:docMk/>
            <pc:sldMk cId="805138991" sldId="3573"/>
            <ac:picMk id="4" creationId="{EB91464A-770C-4B42-87AE-32B9E27CF66B}"/>
          </ac:picMkLst>
        </pc:picChg>
        <pc:picChg chg="add del mod">
          <ac:chgData name="Prawin Phichitnitikorn" userId="9a60c5a28da5113d" providerId="LiveId" clId="{5B190BA7-5AD8-43F3-8B31-047B7ED96440}" dt="2019-06-13T17:23:58.874" v="467"/>
          <ac:picMkLst>
            <pc:docMk/>
            <pc:sldMk cId="805138991" sldId="3573"/>
            <ac:picMk id="11" creationId="{B99D7A58-8346-4EEE-AEF4-EFA5F07E2944}"/>
          </ac:picMkLst>
        </pc:picChg>
        <pc:picChg chg="add del mod">
          <ac:chgData name="Prawin Phichitnitikorn" userId="9a60c5a28da5113d" providerId="LiveId" clId="{5B190BA7-5AD8-43F3-8B31-047B7ED96440}" dt="2019-06-13T17:24:37.202" v="471" actId="478"/>
          <ac:picMkLst>
            <pc:docMk/>
            <pc:sldMk cId="805138991" sldId="3573"/>
            <ac:picMk id="14" creationId="{FE76FCDB-317E-4E2D-95AF-36B41612A577}"/>
          </ac:picMkLst>
        </pc:picChg>
      </pc:sldChg>
      <pc:sldChg chg="del">
        <pc:chgData name="Prawin Phichitnitikorn" userId="9a60c5a28da5113d" providerId="LiveId" clId="{5B190BA7-5AD8-43F3-8B31-047B7ED96440}" dt="2019-06-13T16:50:48.162" v="53" actId="2696"/>
        <pc:sldMkLst>
          <pc:docMk/>
          <pc:sldMk cId="994023492" sldId="3573"/>
        </pc:sldMkLst>
      </pc:sldChg>
      <pc:sldChg chg="del">
        <pc:chgData name="Prawin Phichitnitikorn" userId="9a60c5a28da5113d" providerId="LiveId" clId="{5B190BA7-5AD8-43F3-8B31-047B7ED96440}" dt="2019-06-13T16:50:31.952" v="27" actId="2696"/>
        <pc:sldMkLst>
          <pc:docMk/>
          <pc:sldMk cId="3347518370" sldId="3574"/>
        </pc:sldMkLst>
      </pc:sldChg>
      <pc:sldChg chg="del">
        <pc:chgData name="Prawin Phichitnitikorn" userId="9a60c5a28da5113d" providerId="LiveId" clId="{5B190BA7-5AD8-43F3-8B31-047B7ED96440}" dt="2019-06-13T16:50:36.064" v="38" actId="2696"/>
        <pc:sldMkLst>
          <pc:docMk/>
          <pc:sldMk cId="4211775183" sldId="3575"/>
        </pc:sldMkLst>
      </pc:sldChg>
      <pc:sldChg chg="del">
        <pc:chgData name="Prawin Phichitnitikorn" userId="9a60c5a28da5113d" providerId="LiveId" clId="{5B190BA7-5AD8-43F3-8B31-047B7ED96440}" dt="2019-06-13T16:50:31.984" v="30" actId="2696"/>
        <pc:sldMkLst>
          <pc:docMk/>
          <pc:sldMk cId="1551000631" sldId="3576"/>
        </pc:sldMkLst>
      </pc:sldChg>
      <pc:sldChg chg="del">
        <pc:chgData name="Prawin Phichitnitikorn" userId="9a60c5a28da5113d" providerId="LiveId" clId="{5B190BA7-5AD8-43F3-8B31-047B7ED96440}" dt="2019-06-13T16:50:36.111" v="40" actId="2696"/>
        <pc:sldMkLst>
          <pc:docMk/>
          <pc:sldMk cId="54655592" sldId="3577"/>
        </pc:sldMkLst>
      </pc:sldChg>
      <pc:sldChg chg="del">
        <pc:chgData name="Prawin Phichitnitikorn" userId="9a60c5a28da5113d" providerId="LiveId" clId="{5B190BA7-5AD8-43F3-8B31-047B7ED96440}" dt="2019-06-13T16:50:31.986" v="31" actId="2696"/>
        <pc:sldMkLst>
          <pc:docMk/>
          <pc:sldMk cId="1049028385" sldId="3578"/>
        </pc:sldMkLst>
      </pc:sldChg>
      <pc:sldChg chg="del">
        <pc:chgData name="Prawin Phichitnitikorn" userId="9a60c5a28da5113d" providerId="LiveId" clId="{5B190BA7-5AD8-43F3-8B31-047B7ED96440}" dt="2019-06-13T16:50:36.044" v="36" actId="2696"/>
        <pc:sldMkLst>
          <pc:docMk/>
          <pc:sldMk cId="3838539259" sldId="3579"/>
        </pc:sldMkLst>
      </pc:sldChg>
      <pc:sldChg chg="del">
        <pc:chgData name="Prawin Phichitnitikorn" userId="9a60c5a28da5113d" providerId="LiveId" clId="{5B190BA7-5AD8-43F3-8B31-047B7ED96440}" dt="2019-06-13T16:50:36.054" v="37" actId="2696"/>
        <pc:sldMkLst>
          <pc:docMk/>
          <pc:sldMk cId="1390344749" sldId="3580"/>
        </pc:sldMkLst>
      </pc:sldChg>
      <pc:sldChg chg="del">
        <pc:chgData name="Prawin Phichitnitikorn" userId="9a60c5a28da5113d" providerId="LiveId" clId="{5B190BA7-5AD8-43F3-8B31-047B7ED96440}" dt="2019-06-13T16:50:48.161" v="52" actId="2696"/>
        <pc:sldMkLst>
          <pc:docMk/>
          <pc:sldMk cId="2783188889" sldId="3582"/>
        </pc:sldMkLst>
      </pc:sldChg>
      <pc:sldMasterChg chg="addSldLayout delSldLayout">
        <pc:chgData name="Prawin Phichitnitikorn" userId="9a60c5a28da5113d" providerId="LiveId" clId="{5B190BA7-5AD8-43F3-8B31-047B7ED96440}" dt="2019-06-13T17:34:08.355" v="672" actId="2696"/>
        <pc:sldMasterMkLst>
          <pc:docMk/>
          <pc:sldMasterMk cId="64171198" sldId="2147483672"/>
        </pc:sldMasterMkLst>
        <pc:sldLayoutChg chg="add del">
          <pc:chgData name="Prawin Phichitnitikorn" userId="9a60c5a28da5113d" providerId="LiveId" clId="{5B190BA7-5AD8-43F3-8B31-047B7ED96440}" dt="2019-06-13T17:34:08.355" v="672" actId="2696"/>
          <pc:sldLayoutMkLst>
            <pc:docMk/>
            <pc:sldMasterMk cId="64171198" sldId="2147483672"/>
            <pc:sldLayoutMk cId="245077438" sldId="2147483678"/>
          </pc:sldLayoutMkLst>
        </pc:sldLayoutChg>
      </pc:sldMasterChg>
    </pc:docChg>
  </pc:docChgLst>
  <pc:docChgLst>
    <pc:chgData name="Prawin Phichitnitikorn" userId="9a60c5a28da5113d" providerId="LiveId" clId="{596C9A0F-4D42-4D7E-881D-9A530A06B09D}"/>
    <pc:docChg chg="addSld delSld modSld">
      <pc:chgData name="Prawin Phichitnitikorn" userId="9a60c5a28da5113d" providerId="LiveId" clId="{596C9A0F-4D42-4D7E-881D-9A530A06B09D}" dt="2019-06-13T17:49:05.288" v="194" actId="20577"/>
      <pc:docMkLst>
        <pc:docMk/>
      </pc:docMkLst>
      <pc:sldChg chg="modSp">
        <pc:chgData name="Prawin Phichitnitikorn" userId="9a60c5a28da5113d" providerId="LiveId" clId="{596C9A0F-4D42-4D7E-881D-9A530A06B09D}" dt="2019-06-13T17:48:49.494" v="191" actId="20577"/>
        <pc:sldMkLst>
          <pc:docMk/>
          <pc:sldMk cId="1613544394" sldId="3551"/>
        </pc:sldMkLst>
        <pc:spChg chg="mod">
          <ac:chgData name="Prawin Phichitnitikorn" userId="9a60c5a28da5113d" providerId="LiveId" clId="{596C9A0F-4D42-4D7E-881D-9A530A06B09D}" dt="2019-06-13T17:48:24.969" v="167" actId="20577"/>
          <ac:spMkLst>
            <pc:docMk/>
            <pc:sldMk cId="1613544394" sldId="3551"/>
            <ac:spMk id="2" creationId="{03FB8FAA-DE71-4953-832D-EE6DE1D6BEEA}"/>
          </ac:spMkLst>
        </pc:spChg>
        <pc:spChg chg="mod">
          <ac:chgData name="Prawin Phichitnitikorn" userId="9a60c5a28da5113d" providerId="LiveId" clId="{596C9A0F-4D42-4D7E-881D-9A530A06B09D}" dt="2019-06-13T17:48:49.494" v="191" actId="20577"/>
          <ac:spMkLst>
            <pc:docMk/>
            <pc:sldMk cId="1613544394" sldId="3551"/>
            <ac:spMk id="34" creationId="{C8D62805-144D-4772-9F9E-6A9742E47830}"/>
          </ac:spMkLst>
        </pc:spChg>
      </pc:sldChg>
      <pc:sldChg chg="addSp delSp modSp">
        <pc:chgData name="Prawin Phichitnitikorn" userId="9a60c5a28da5113d" providerId="LiveId" clId="{596C9A0F-4D42-4D7E-881D-9A530A06B09D}" dt="2019-06-13T17:49:05.288" v="194" actId="20577"/>
        <pc:sldMkLst>
          <pc:docMk/>
          <pc:sldMk cId="805138991" sldId="3573"/>
        </pc:sldMkLst>
        <pc:spChg chg="mod">
          <ac:chgData name="Prawin Phichitnitikorn" userId="9a60c5a28da5113d" providerId="LiveId" clId="{596C9A0F-4D42-4D7E-881D-9A530A06B09D}" dt="2019-06-13T17:44:27.342" v="122" actId="1036"/>
          <ac:spMkLst>
            <pc:docMk/>
            <pc:sldMk cId="805138991" sldId="3573"/>
            <ac:spMk id="3" creationId="{F3BAEA9B-BE74-404F-929D-E3A2D63B91B1}"/>
          </ac:spMkLst>
        </pc:spChg>
        <pc:spChg chg="add mod">
          <ac:chgData name="Prawin Phichitnitikorn" userId="9a60c5a28da5113d" providerId="LiveId" clId="{596C9A0F-4D42-4D7E-881D-9A530A06B09D}" dt="2019-06-13T17:45:43.058" v="142" actId="404"/>
          <ac:spMkLst>
            <pc:docMk/>
            <pc:sldMk cId="805138991" sldId="3573"/>
            <ac:spMk id="4" creationId="{12FA550F-9154-41B2-A61D-48B94AA10621}"/>
          </ac:spMkLst>
        </pc:spChg>
        <pc:spChg chg="add mod">
          <ac:chgData name="Prawin Phichitnitikorn" userId="9a60c5a28da5113d" providerId="LiveId" clId="{596C9A0F-4D42-4D7E-881D-9A530A06B09D}" dt="2019-06-13T17:45:43.058" v="142" actId="404"/>
          <ac:spMkLst>
            <pc:docMk/>
            <pc:sldMk cId="805138991" sldId="3573"/>
            <ac:spMk id="5" creationId="{B68C3A5B-8B4A-4FF1-ABF7-4587F8BC073E}"/>
          </ac:spMkLst>
        </pc:spChg>
        <pc:spChg chg="add mod">
          <ac:chgData name="Prawin Phichitnitikorn" userId="9a60c5a28da5113d" providerId="LiveId" clId="{596C9A0F-4D42-4D7E-881D-9A530A06B09D}" dt="2019-06-13T17:44:27.342" v="122" actId="1036"/>
          <ac:spMkLst>
            <pc:docMk/>
            <pc:sldMk cId="805138991" sldId="3573"/>
            <ac:spMk id="6" creationId="{6B956F05-6334-4186-98BC-0774CFC627E2}"/>
          </ac:spMkLst>
        </pc:spChg>
        <pc:spChg chg="mod">
          <ac:chgData name="Prawin Phichitnitikorn" userId="9a60c5a28da5113d" providerId="LiveId" clId="{596C9A0F-4D42-4D7E-881D-9A530A06B09D}" dt="2019-06-13T17:49:05.288" v="194" actId="20577"/>
          <ac:spMkLst>
            <pc:docMk/>
            <pc:sldMk cId="805138991" sldId="3573"/>
            <ac:spMk id="10" creationId="{4D5F4380-D67C-46B2-AD8B-6733836B9C6F}"/>
          </ac:spMkLst>
        </pc:spChg>
        <pc:spChg chg="del">
          <ac:chgData name="Prawin Phichitnitikorn" userId="9a60c5a28da5113d" providerId="LiveId" clId="{596C9A0F-4D42-4D7E-881D-9A530A06B09D}" dt="2019-06-13T17:42:13.633" v="21"/>
          <ac:spMkLst>
            <pc:docMk/>
            <pc:sldMk cId="805138991" sldId="3573"/>
            <ac:spMk id="16" creationId="{6471EA99-1E70-4B9B-8934-6B53CAEA84B0}"/>
          </ac:spMkLst>
        </pc:spChg>
        <pc:grpChg chg="mod">
          <ac:chgData name="Prawin Phichitnitikorn" userId="9a60c5a28da5113d" providerId="LiveId" clId="{596C9A0F-4D42-4D7E-881D-9A530A06B09D}" dt="2019-06-13T17:45:46.702" v="150" actId="1036"/>
          <ac:grpSpMkLst>
            <pc:docMk/>
            <pc:sldMk cId="805138991" sldId="3573"/>
            <ac:grpSpMk id="17" creationId="{17A7A8A3-E6CE-4DA2-A043-DB72BAF571BB}"/>
          </ac:grpSpMkLst>
        </pc:grpChg>
        <pc:graphicFrameChg chg="add mod modGraphic">
          <ac:chgData name="Prawin Phichitnitikorn" userId="9a60c5a28da5113d" providerId="LiveId" clId="{596C9A0F-4D42-4D7E-881D-9A530A06B09D}" dt="2019-06-13T17:46:11.979" v="153" actId="1076"/>
          <ac:graphicFrameMkLst>
            <pc:docMk/>
            <pc:sldMk cId="805138991" sldId="3573"/>
            <ac:graphicFrameMk id="11" creationId="{085F4E0C-2044-4F81-80FE-796F50D95D8E}"/>
          </ac:graphicFrameMkLst>
        </pc:graphicFrameChg>
      </pc:sldChg>
      <pc:sldChg chg="add del">
        <pc:chgData name="Prawin Phichitnitikorn" userId="9a60c5a28da5113d" providerId="LiveId" clId="{596C9A0F-4D42-4D7E-881D-9A530A06B09D}" dt="2019-06-13T17:46:30.184" v="155" actId="2696"/>
        <pc:sldMkLst>
          <pc:docMk/>
          <pc:sldMk cId="3536643590" sldId="3574"/>
        </pc:sldMkLst>
      </pc:sldChg>
    </pc:docChg>
  </pc:docChgLst>
</pc:chgInfo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C:\Users\prawi\PYTHON\Persernal%20Analytic\dEX%20Team%20Survey.xlsx" TargetMode="External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3!$A$2:$A$10</cx:f>
        <cx:lvl ptCount="9">
          <cx:pt idx="0">Career path</cx:pt>
          <cx:pt idx="1">Colleagues </cx:pt>
          <cx:pt idx="2">Combination of no career and dex's team leaders</cx:pt>
          <cx:pt idx="3">Job responsibility </cx:pt>
          <cx:pt idx="4">Need to get more challenge</cx:pt>
          <cx:pt idx="5">Organization</cx:pt>
          <cx:pt idx="6">Personal reason (family, follow the dream, etc.) </cx:pt>
          <cx:pt idx="7">Team leaders (VP &amp; DM)</cx:pt>
          <cx:pt idx="8">Workloads </cx:pt>
        </cx:lvl>
      </cx:strDim>
      <cx:numDim type="size">
        <cx:f>Sheet3!$B$2:$B$10</cx:f>
        <cx:lvl ptCount="9" formatCode="General">
          <cx:pt idx="0">5</cx:pt>
          <cx:pt idx="1">1</cx:pt>
          <cx:pt idx="2">1</cx:pt>
          <cx:pt idx="3">4</cx:pt>
          <cx:pt idx="4">1</cx:pt>
          <cx:pt idx="5">1</cx:pt>
          <cx:pt idx="6">1</cx:pt>
          <cx:pt idx="7">5</cx:pt>
          <cx:pt idx="8">3</cx:pt>
        </cx:lvl>
      </cx:numDim>
    </cx:data>
  </cx:chartData>
  <cx:chart>
    <cx:plotArea>
      <cx:plotAreaRegion>
        <cx:series layoutId="treemap" uniqueId="{32861E8B-DF60-4633-82A8-648F162B096C}">
          <cx:tx>
            <cx:txData>
              <cx:f>Sheet3!$B$1</cx:f>
              <cx:v>Count of Hypothetically, if you were to quit tomorrow, what would your reason be? (Please select one)</cx:v>
            </cx:txData>
          </cx:tx>
          <cx:dataLabels>
            <cx:numFmt formatCode="General" sourceLinked="0"/>
            <cx:visibility seriesName="0" categoryName="1" value="1"/>
            <cx:separator>, </cx:separator>
          </cx:dataLabels>
          <cx:dataId val="0"/>
          <cx:layoutPr>
            <cx:parentLabelLayout val="overlapping"/>
          </cx:layoutPr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lt1"/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2E66A0-84CF-4253-83CA-FEAB89F7E210}" type="datetimeFigureOut">
              <a:rPr lang="en-US" smtClean="0"/>
              <a:t>6/1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57CA0D-068E-4E5C-A171-9BE329BBF6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71891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98B381-2ECC-405A-AF68-8CBB341BA507}" type="datetimeFigureOut">
              <a:rPr lang="en-US" smtClean="0"/>
              <a:t>6/1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2A0C18-3679-45CA-AFD3-3D56C920DC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9471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2A0C18-3679-45CA-AFD3-3D56C920DCC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35236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2A0C18-3679-45CA-AFD3-3D56C920DCC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81832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9.xml"/><Relationship Id="rId7" Type="http://schemas.openxmlformats.org/officeDocument/2006/relationships/image" Target="../media/image5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9.xml"/><Relationship Id="rId7" Type="http://schemas.openxmlformats.org/officeDocument/2006/relationships/image" Target="../media/image9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Relationship Id="rId9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AD81B-6B44-454A-B03C-C17F646705FA}" type="datetimeFigureOut">
              <a:rPr lang="en-US" smtClean="0"/>
              <a:t>6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AE655-3508-45B8-BD1C-EB05F988AF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4823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AD81B-6B44-454A-B03C-C17F646705FA}" type="datetimeFigureOut">
              <a:rPr lang="en-US" smtClean="0"/>
              <a:t>6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AE655-3508-45B8-BD1C-EB05F988AF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3542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AD81B-6B44-454A-B03C-C17F646705FA}" type="datetimeFigureOut">
              <a:rPr lang="en-US" smtClean="0"/>
              <a:t>6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AE655-3508-45B8-BD1C-EB05F988AF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1233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44E534D-3C73-4FD9-8B9F-FD46996725D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65" b="0" i="0" baseline="0" dirty="0" err="1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550E22F-A71E-4AE9-B524-A9BCCAAD817A}"/>
              </a:ext>
            </a:extLst>
          </p:cNvPr>
          <p:cNvGrpSpPr/>
          <p:nvPr/>
        </p:nvGrpSpPr>
        <p:grpSpPr>
          <a:xfrm>
            <a:off x="1" y="323"/>
            <a:ext cx="12191999" cy="6857352"/>
            <a:chOff x="1" y="317"/>
            <a:chExt cx="11949112" cy="6720840"/>
          </a:xfrm>
        </p:grpSpPr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88B489DF-7CBE-4AAA-8F8C-414BA25C56E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ltGray">
            <a:xfrm>
              <a:off x="2987993" y="317"/>
              <a:ext cx="8961120" cy="6720840"/>
            </a:xfrm>
            <a:prstGeom prst="rect">
              <a:avLst/>
            </a:prstGeom>
          </p:spPr>
        </p:pic>
        <p:pic>
          <p:nvPicPr>
            <p:cNvPr id="97" name="Picture 96">
              <a:extLst>
                <a:ext uri="{FF2B5EF4-FFF2-40B4-BE49-F238E27FC236}">
                  <a16:creationId xmlns:a16="http://schemas.microsoft.com/office/drawing/2014/main" id="{DA5B51B2-F67C-42BD-BCA9-69E844BFDD9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1" y="317"/>
              <a:ext cx="4961964" cy="6720840"/>
            </a:xfrm>
            <a:prstGeom prst="rect">
              <a:avLst/>
            </a:prstGeom>
          </p:spPr>
        </p:pic>
      </p:grp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324982" y="3162577"/>
            <a:ext cx="6257527" cy="50244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3265" b="0" baseline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24980" y="4734331"/>
            <a:ext cx="6257527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324982" y="6019075"/>
            <a:ext cx="6257527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31031684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65502-0A3D-4FB8-8366-001D17B32A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81" y="51836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72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74B83509-7376-42F1-B07D-2F4F14E82CD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65826" y="389141"/>
            <a:ext cx="1114673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8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 latinLnBrk="0"/>
            <a:r>
              <a:rPr lang="en-US" dirty="0"/>
              <a:t>Click to edit Master title style</a:t>
            </a:r>
            <a:endParaRPr lang="x-none" noProof="0" dirty="0"/>
          </a:p>
        </p:txBody>
      </p:sp>
    </p:spTree>
    <p:extLst>
      <p:ext uri="{BB962C8B-B14F-4D97-AF65-F5344CB8AC3E}">
        <p14:creationId xmlns:p14="http://schemas.microsoft.com/office/powerpoint/2010/main" val="18138400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65502-0A3D-4FB8-8366-001D17B32A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81" y="51836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72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74B83509-7376-42F1-B07D-2F4F14E82CD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65826" y="389141"/>
            <a:ext cx="1114673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8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 latinLnBrk="0"/>
            <a:r>
              <a:rPr lang="en-US" dirty="0"/>
              <a:t>Click to edit Master title style</a:t>
            </a:r>
            <a:endParaRPr lang="x-none" noProof="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0DCCD6A-B971-4ACB-AE70-CAF28FD775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07366" y="973138"/>
            <a:ext cx="10905197" cy="52038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21990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65502-0A3D-4FB8-8366-001D17B32A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81" y="51836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72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74B83509-7376-42F1-B07D-2F4F14E82CD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65826" y="389141"/>
            <a:ext cx="1114673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8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 latinLnBrk="0"/>
            <a:r>
              <a:rPr lang="en-US" dirty="0"/>
              <a:t>Click to edit Master title style</a:t>
            </a:r>
            <a:endParaRPr lang="x-none" noProof="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0DCCD6A-B971-4ACB-AE70-CAF28FD775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2476" y="973138"/>
            <a:ext cx="5365630" cy="52038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C735C25B-E893-47BD-9A32-8CAA373B218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13896" y="985868"/>
            <a:ext cx="5365628" cy="52038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0132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65502-0A3D-4FB8-8366-001D17B32A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81" y="51836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72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74B83509-7376-42F1-B07D-2F4F14E82CD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14068" y="389141"/>
            <a:ext cx="1119849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8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 latinLnBrk="0"/>
            <a:r>
              <a:rPr lang="en-US" dirty="0"/>
              <a:t>Click to edit Master title style</a:t>
            </a:r>
            <a:endParaRPr lang="x-none" noProof="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0DCCD6A-B971-4ACB-AE70-CAF28FD775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081" y="1777042"/>
            <a:ext cx="5333344" cy="439992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C735C25B-E893-47BD-9A32-8CAA373B218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197693" y="1777042"/>
            <a:ext cx="5381830" cy="441265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EE88B74-594B-44A0-BC17-B6F0345027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2476" y="904793"/>
            <a:ext cx="5333344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1A63513-E622-488E-8E63-BA51D7F1C80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97692" y="895186"/>
            <a:ext cx="538183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4206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6B4A24-EEE5-4A86-B130-DA05B2CE75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6B4A24-EEE5-4A86-B130-DA05B2CE75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0253225-899A-4B11-95AC-91FFDEE221D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0ED975-A1F2-454D-A702-3525AD7A88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9646" y="1360585"/>
            <a:ext cx="9931692" cy="553998"/>
          </a:xfrm>
        </p:spPr>
        <p:txBody>
          <a:bodyPr/>
          <a:lstStyle>
            <a:lvl1pPr algn="r">
              <a:defRPr sz="3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736E2B2-806D-4020-AA8F-3E89CE3AA4B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270" y="2069881"/>
            <a:ext cx="12191730" cy="4788119"/>
          </a:xfrm>
          <a:prstGeom prst="rect">
            <a:avLst/>
          </a:prstGeom>
        </p:spPr>
      </p:pic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252AE880-9470-44CA-8294-38E469D35644}"/>
              </a:ext>
            </a:extLst>
          </p:cNvPr>
          <p:cNvSpPr/>
          <p:nvPr/>
        </p:nvSpPr>
        <p:spPr bwMode="ltGray">
          <a:xfrm rot="5400000">
            <a:off x="-1274181" y="2634767"/>
            <a:ext cx="5497415" cy="2949052"/>
          </a:xfrm>
          <a:prstGeom prst="triangle">
            <a:avLst>
              <a:gd name="adj" fmla="val 50000"/>
            </a:avLst>
          </a:prstGeom>
          <a:solidFill>
            <a:schemeClr val="accent5">
              <a:alpha val="84000"/>
            </a:schemeClr>
          </a:solidFill>
          <a:ln w="9525"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 err="1">
              <a:solidFill>
                <a:schemeClr val="tx1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75EB2BF5-4323-4DA2-BDC7-65F0B46F2507}"/>
              </a:ext>
            </a:extLst>
          </p:cNvPr>
          <p:cNvSpPr/>
          <p:nvPr/>
        </p:nvSpPr>
        <p:spPr bwMode="ltGray">
          <a:xfrm>
            <a:off x="-163" y="2069881"/>
            <a:ext cx="12192163" cy="4788119"/>
          </a:xfrm>
          <a:custGeom>
            <a:avLst/>
            <a:gdLst>
              <a:gd name="connsiteX0" fmla="*/ 3660795 w 8961439"/>
              <a:gd name="connsiteY0" fmla="*/ 0 h 3908426"/>
              <a:gd name="connsiteX1" fmla="*/ 8961439 w 8961439"/>
              <a:gd name="connsiteY1" fmla="*/ 0 h 3908426"/>
              <a:gd name="connsiteX2" fmla="*/ 8961439 w 8961439"/>
              <a:gd name="connsiteY2" fmla="*/ 3908426 h 3908426"/>
              <a:gd name="connsiteX3" fmla="*/ 3347848 w 8961439"/>
              <a:gd name="connsiteY3" fmla="*/ 3908426 h 3908426"/>
              <a:gd name="connsiteX4" fmla="*/ 3276600 w 8961439"/>
              <a:gd name="connsiteY4" fmla="*/ 3908426 h 3908426"/>
              <a:gd name="connsiteX5" fmla="*/ 0 w 8961439"/>
              <a:gd name="connsiteY5" fmla="*/ 3908426 h 3908426"/>
              <a:gd name="connsiteX6" fmla="*/ 0 w 8961439"/>
              <a:gd name="connsiteY6" fmla="*/ 3210978 h 3908426"/>
              <a:gd name="connsiteX7" fmla="*/ 3351994 w 8961439"/>
              <a:gd name="connsiteY7" fmla="*/ 142944 h 3908426"/>
              <a:gd name="connsiteX8" fmla="*/ 3350708 w 8961439"/>
              <a:gd name="connsiteY8" fmla="*/ 149336 h 3908426"/>
              <a:gd name="connsiteX9" fmla="*/ 3389128 w 8961439"/>
              <a:gd name="connsiteY9" fmla="*/ 105626 h 3908426"/>
              <a:gd name="connsiteX10" fmla="*/ 3660795 w 8961439"/>
              <a:gd name="connsiteY10" fmla="*/ 0 h 3908426"/>
              <a:gd name="connsiteX0" fmla="*/ 3660795 w 8961439"/>
              <a:gd name="connsiteY0" fmla="*/ 0 h 3908426"/>
              <a:gd name="connsiteX1" fmla="*/ 8961439 w 8961439"/>
              <a:gd name="connsiteY1" fmla="*/ 0 h 3908426"/>
              <a:gd name="connsiteX2" fmla="*/ 8961439 w 8961439"/>
              <a:gd name="connsiteY2" fmla="*/ 3908426 h 3908426"/>
              <a:gd name="connsiteX3" fmla="*/ 3347848 w 8961439"/>
              <a:gd name="connsiteY3" fmla="*/ 3908426 h 3908426"/>
              <a:gd name="connsiteX4" fmla="*/ 3276600 w 8961439"/>
              <a:gd name="connsiteY4" fmla="*/ 3908426 h 3908426"/>
              <a:gd name="connsiteX5" fmla="*/ 0 w 8961439"/>
              <a:gd name="connsiteY5" fmla="*/ 3908426 h 3908426"/>
              <a:gd name="connsiteX6" fmla="*/ 9524 w 8961439"/>
              <a:gd name="connsiteY6" fmla="*/ 3528296 h 3908426"/>
              <a:gd name="connsiteX7" fmla="*/ 3351994 w 8961439"/>
              <a:gd name="connsiteY7" fmla="*/ 142944 h 3908426"/>
              <a:gd name="connsiteX8" fmla="*/ 3350708 w 8961439"/>
              <a:gd name="connsiteY8" fmla="*/ 149336 h 3908426"/>
              <a:gd name="connsiteX9" fmla="*/ 3389128 w 8961439"/>
              <a:gd name="connsiteY9" fmla="*/ 105626 h 3908426"/>
              <a:gd name="connsiteX10" fmla="*/ 3660795 w 8961439"/>
              <a:gd name="connsiteY10" fmla="*/ 0 h 3908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961439" h="3908426">
                <a:moveTo>
                  <a:pt x="3660795" y="0"/>
                </a:moveTo>
                <a:lnTo>
                  <a:pt x="8961439" y="0"/>
                </a:lnTo>
                <a:lnTo>
                  <a:pt x="8961439" y="3908426"/>
                </a:lnTo>
                <a:lnTo>
                  <a:pt x="3347848" y="3908426"/>
                </a:lnTo>
                <a:lnTo>
                  <a:pt x="3276600" y="3908426"/>
                </a:lnTo>
                <a:lnTo>
                  <a:pt x="0" y="3908426"/>
                </a:lnTo>
                <a:lnTo>
                  <a:pt x="9524" y="3528296"/>
                </a:lnTo>
                <a:lnTo>
                  <a:pt x="3351994" y="142944"/>
                </a:lnTo>
                <a:lnTo>
                  <a:pt x="3350708" y="149336"/>
                </a:lnTo>
                <a:lnTo>
                  <a:pt x="3389128" y="105626"/>
                </a:lnTo>
                <a:cubicBezTo>
                  <a:pt x="3458654" y="40365"/>
                  <a:pt x="3554703" y="0"/>
                  <a:pt x="3660795" y="0"/>
                </a:cubicBezTo>
                <a:close/>
              </a:path>
            </a:pathLst>
          </a:custGeom>
          <a:gradFill flip="none" rotWithShape="1">
            <a:gsLst>
              <a:gs pos="100000">
                <a:schemeClr val="accent2">
                  <a:alpha val="50000"/>
                </a:schemeClr>
              </a:gs>
              <a:gs pos="0">
                <a:schemeClr val="accent4">
                  <a:alpha val="50000"/>
                </a:schemeClr>
              </a:gs>
              <a:gs pos="47000">
                <a:schemeClr val="accent3">
                  <a:alpha val="5000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837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20B42989-39AB-4388-892E-6253BD51B389}"/>
              </a:ext>
            </a:extLst>
          </p:cNvPr>
          <p:cNvSpPr txBox="1">
            <a:spLocks/>
          </p:cNvSpPr>
          <p:nvPr/>
        </p:nvSpPr>
        <p:spPr bwMode="black">
          <a:xfrm>
            <a:off x="11681337" y="6452028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16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9C3B994-83FF-4600-91E4-BBE759E1779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422711" y="6409999"/>
            <a:ext cx="544047" cy="179398"/>
            <a:chOff x="1887" y="1811"/>
            <a:chExt cx="1862" cy="614"/>
          </a:xfrm>
          <a:solidFill>
            <a:schemeClr val="bg1"/>
          </a:solidFill>
        </p:grpSpPr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BF9592C2-B3B4-4ABE-A25A-1F9A9312CF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4" y="1961"/>
              <a:ext cx="1315" cy="464"/>
            </a:xfrm>
            <a:custGeom>
              <a:avLst/>
              <a:gdLst>
                <a:gd name="T0" fmla="*/ 250 w 1079"/>
                <a:gd name="T1" fmla="*/ 0 h 379"/>
                <a:gd name="T2" fmla="*/ 141 w 1079"/>
                <a:gd name="T3" fmla="*/ 26 h 379"/>
                <a:gd name="T4" fmla="*/ 40 w 1079"/>
                <a:gd name="T5" fmla="*/ 131 h 379"/>
                <a:gd name="T6" fmla="*/ 0 w 1079"/>
                <a:gd name="T7" fmla="*/ 276 h 379"/>
                <a:gd name="T8" fmla="*/ 71 w 1079"/>
                <a:gd name="T9" fmla="*/ 370 h 379"/>
                <a:gd name="T10" fmla="*/ 127 w 1079"/>
                <a:gd name="T11" fmla="*/ 377 h 379"/>
                <a:gd name="T12" fmla="*/ 407 w 1079"/>
                <a:gd name="T13" fmla="*/ 378 h 379"/>
                <a:gd name="T14" fmla="*/ 471 w 1079"/>
                <a:gd name="T15" fmla="*/ 331 h 379"/>
                <a:gd name="T16" fmla="*/ 485 w 1079"/>
                <a:gd name="T17" fmla="*/ 291 h 379"/>
                <a:gd name="T18" fmla="*/ 523 w 1079"/>
                <a:gd name="T19" fmla="*/ 176 h 379"/>
                <a:gd name="T20" fmla="*/ 505 w 1079"/>
                <a:gd name="T21" fmla="*/ 151 h 379"/>
                <a:gd name="T22" fmla="*/ 498 w 1079"/>
                <a:gd name="T23" fmla="*/ 151 h 379"/>
                <a:gd name="T24" fmla="*/ 295 w 1079"/>
                <a:gd name="T25" fmla="*/ 150 h 379"/>
                <a:gd name="T26" fmla="*/ 271 w 1079"/>
                <a:gd name="T27" fmla="*/ 168 h 379"/>
                <a:gd name="T28" fmla="*/ 251 w 1079"/>
                <a:gd name="T29" fmla="*/ 228 h 379"/>
                <a:gd name="T30" fmla="*/ 343 w 1079"/>
                <a:gd name="T31" fmla="*/ 228 h 379"/>
                <a:gd name="T32" fmla="*/ 321 w 1079"/>
                <a:gd name="T33" fmla="*/ 294 h 379"/>
                <a:gd name="T34" fmla="*/ 315 w 1079"/>
                <a:gd name="T35" fmla="*/ 297 h 379"/>
                <a:gd name="T36" fmla="*/ 220 w 1079"/>
                <a:gd name="T37" fmla="*/ 295 h 379"/>
                <a:gd name="T38" fmla="*/ 172 w 1079"/>
                <a:gd name="T39" fmla="*/ 243 h 379"/>
                <a:gd name="T40" fmla="*/ 211 w 1079"/>
                <a:gd name="T41" fmla="*/ 131 h 379"/>
                <a:gd name="T42" fmla="*/ 308 w 1079"/>
                <a:gd name="T43" fmla="*/ 82 h 379"/>
                <a:gd name="T44" fmla="*/ 562 w 1079"/>
                <a:gd name="T45" fmla="*/ 83 h 379"/>
                <a:gd name="T46" fmla="*/ 576 w 1079"/>
                <a:gd name="T47" fmla="*/ 78 h 379"/>
                <a:gd name="T48" fmla="*/ 629 w 1079"/>
                <a:gd name="T49" fmla="*/ 38 h 379"/>
                <a:gd name="T50" fmla="*/ 672 w 1079"/>
                <a:gd name="T51" fmla="*/ 33 h 379"/>
                <a:gd name="T52" fmla="*/ 628 w 1079"/>
                <a:gd name="T53" fmla="*/ 70 h 379"/>
                <a:gd name="T54" fmla="*/ 547 w 1079"/>
                <a:gd name="T55" fmla="*/ 267 h 379"/>
                <a:gd name="T56" fmla="*/ 614 w 1079"/>
                <a:gd name="T57" fmla="*/ 369 h 379"/>
                <a:gd name="T58" fmla="*/ 659 w 1079"/>
                <a:gd name="T59" fmla="*/ 378 h 379"/>
                <a:gd name="T60" fmla="*/ 924 w 1079"/>
                <a:gd name="T61" fmla="*/ 379 h 379"/>
                <a:gd name="T62" fmla="*/ 962 w 1079"/>
                <a:gd name="T63" fmla="*/ 359 h 379"/>
                <a:gd name="T64" fmla="*/ 985 w 1079"/>
                <a:gd name="T65" fmla="*/ 299 h 379"/>
                <a:gd name="T66" fmla="*/ 972 w 1079"/>
                <a:gd name="T67" fmla="*/ 298 h 379"/>
                <a:gd name="T68" fmla="*/ 777 w 1079"/>
                <a:gd name="T69" fmla="*/ 297 h 379"/>
                <a:gd name="T70" fmla="*/ 722 w 1079"/>
                <a:gd name="T71" fmla="*/ 261 h 379"/>
                <a:gd name="T72" fmla="*/ 720 w 1079"/>
                <a:gd name="T73" fmla="*/ 231 h 379"/>
                <a:gd name="T74" fmla="*/ 746 w 1079"/>
                <a:gd name="T75" fmla="*/ 150 h 379"/>
                <a:gd name="T76" fmla="*/ 823 w 1079"/>
                <a:gd name="T77" fmla="*/ 86 h 379"/>
                <a:gd name="T78" fmla="*/ 859 w 1079"/>
                <a:gd name="T79" fmla="*/ 83 h 379"/>
                <a:gd name="T80" fmla="*/ 1045 w 1079"/>
                <a:gd name="T81" fmla="*/ 84 h 379"/>
                <a:gd name="T82" fmla="*/ 1057 w 1079"/>
                <a:gd name="T83" fmla="*/ 74 h 379"/>
                <a:gd name="T84" fmla="*/ 1077 w 1079"/>
                <a:gd name="T85" fmla="*/ 13 h 379"/>
                <a:gd name="T86" fmla="*/ 1079 w 1079"/>
                <a:gd name="T87" fmla="*/ 4 h 379"/>
                <a:gd name="T88" fmla="*/ 1071 w 1079"/>
                <a:gd name="T89" fmla="*/ 4 h 379"/>
                <a:gd name="T90" fmla="*/ 250 w 1079"/>
                <a:gd name="T91" fmla="*/ 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79" h="379">
                  <a:moveTo>
                    <a:pt x="250" y="0"/>
                  </a:moveTo>
                  <a:cubicBezTo>
                    <a:pt x="212" y="0"/>
                    <a:pt x="175" y="8"/>
                    <a:pt x="141" y="26"/>
                  </a:cubicBezTo>
                  <a:cubicBezTo>
                    <a:pt x="96" y="50"/>
                    <a:pt x="63" y="86"/>
                    <a:pt x="40" y="131"/>
                  </a:cubicBezTo>
                  <a:cubicBezTo>
                    <a:pt x="16" y="177"/>
                    <a:pt x="0" y="224"/>
                    <a:pt x="0" y="276"/>
                  </a:cubicBezTo>
                  <a:cubicBezTo>
                    <a:pt x="0" y="324"/>
                    <a:pt x="25" y="357"/>
                    <a:pt x="71" y="370"/>
                  </a:cubicBezTo>
                  <a:cubicBezTo>
                    <a:pt x="89" y="374"/>
                    <a:pt x="108" y="377"/>
                    <a:pt x="127" y="377"/>
                  </a:cubicBezTo>
                  <a:cubicBezTo>
                    <a:pt x="220" y="378"/>
                    <a:pt x="314" y="378"/>
                    <a:pt x="407" y="378"/>
                  </a:cubicBezTo>
                  <a:cubicBezTo>
                    <a:pt x="442" y="378"/>
                    <a:pt x="460" y="365"/>
                    <a:pt x="471" y="331"/>
                  </a:cubicBezTo>
                  <a:cubicBezTo>
                    <a:pt x="476" y="318"/>
                    <a:pt x="480" y="304"/>
                    <a:pt x="485" y="291"/>
                  </a:cubicBezTo>
                  <a:cubicBezTo>
                    <a:pt x="497" y="252"/>
                    <a:pt x="510" y="214"/>
                    <a:pt x="523" y="176"/>
                  </a:cubicBezTo>
                  <a:cubicBezTo>
                    <a:pt x="527" y="161"/>
                    <a:pt x="521" y="152"/>
                    <a:pt x="505" y="151"/>
                  </a:cubicBezTo>
                  <a:cubicBezTo>
                    <a:pt x="503" y="151"/>
                    <a:pt x="501" y="151"/>
                    <a:pt x="498" y="151"/>
                  </a:cubicBezTo>
                  <a:cubicBezTo>
                    <a:pt x="431" y="151"/>
                    <a:pt x="363" y="151"/>
                    <a:pt x="295" y="150"/>
                  </a:cubicBezTo>
                  <a:cubicBezTo>
                    <a:pt x="277" y="150"/>
                    <a:pt x="277" y="150"/>
                    <a:pt x="271" y="168"/>
                  </a:cubicBezTo>
                  <a:cubicBezTo>
                    <a:pt x="264" y="188"/>
                    <a:pt x="258" y="207"/>
                    <a:pt x="251" y="228"/>
                  </a:cubicBezTo>
                  <a:cubicBezTo>
                    <a:pt x="282" y="228"/>
                    <a:pt x="312" y="228"/>
                    <a:pt x="343" y="228"/>
                  </a:cubicBezTo>
                  <a:cubicBezTo>
                    <a:pt x="336" y="251"/>
                    <a:pt x="328" y="273"/>
                    <a:pt x="321" y="294"/>
                  </a:cubicBezTo>
                  <a:cubicBezTo>
                    <a:pt x="320" y="295"/>
                    <a:pt x="317" y="297"/>
                    <a:pt x="315" y="297"/>
                  </a:cubicBezTo>
                  <a:cubicBezTo>
                    <a:pt x="283" y="297"/>
                    <a:pt x="252" y="297"/>
                    <a:pt x="220" y="295"/>
                  </a:cubicBezTo>
                  <a:cubicBezTo>
                    <a:pt x="189" y="294"/>
                    <a:pt x="171" y="274"/>
                    <a:pt x="172" y="243"/>
                  </a:cubicBezTo>
                  <a:cubicBezTo>
                    <a:pt x="173" y="202"/>
                    <a:pt x="187" y="164"/>
                    <a:pt x="211" y="131"/>
                  </a:cubicBezTo>
                  <a:cubicBezTo>
                    <a:pt x="235" y="98"/>
                    <a:pt x="267" y="81"/>
                    <a:pt x="308" y="82"/>
                  </a:cubicBezTo>
                  <a:cubicBezTo>
                    <a:pt x="393" y="83"/>
                    <a:pt x="477" y="83"/>
                    <a:pt x="562" y="83"/>
                  </a:cubicBezTo>
                  <a:cubicBezTo>
                    <a:pt x="568" y="83"/>
                    <a:pt x="572" y="82"/>
                    <a:pt x="576" y="78"/>
                  </a:cubicBezTo>
                  <a:cubicBezTo>
                    <a:pt x="593" y="64"/>
                    <a:pt x="611" y="51"/>
                    <a:pt x="629" y="38"/>
                  </a:cubicBezTo>
                  <a:cubicBezTo>
                    <a:pt x="642" y="29"/>
                    <a:pt x="657" y="34"/>
                    <a:pt x="672" y="33"/>
                  </a:cubicBezTo>
                  <a:cubicBezTo>
                    <a:pt x="657" y="45"/>
                    <a:pt x="641" y="56"/>
                    <a:pt x="628" y="70"/>
                  </a:cubicBezTo>
                  <a:cubicBezTo>
                    <a:pt x="578" y="126"/>
                    <a:pt x="551" y="192"/>
                    <a:pt x="547" y="267"/>
                  </a:cubicBezTo>
                  <a:cubicBezTo>
                    <a:pt x="544" y="319"/>
                    <a:pt x="568" y="355"/>
                    <a:pt x="614" y="369"/>
                  </a:cubicBezTo>
                  <a:cubicBezTo>
                    <a:pt x="628" y="374"/>
                    <a:pt x="644" y="377"/>
                    <a:pt x="659" y="378"/>
                  </a:cubicBezTo>
                  <a:cubicBezTo>
                    <a:pt x="748" y="379"/>
                    <a:pt x="836" y="379"/>
                    <a:pt x="924" y="379"/>
                  </a:cubicBezTo>
                  <a:cubicBezTo>
                    <a:pt x="940" y="379"/>
                    <a:pt x="955" y="373"/>
                    <a:pt x="962" y="359"/>
                  </a:cubicBezTo>
                  <a:cubicBezTo>
                    <a:pt x="971" y="340"/>
                    <a:pt x="977" y="320"/>
                    <a:pt x="985" y="299"/>
                  </a:cubicBezTo>
                  <a:cubicBezTo>
                    <a:pt x="979" y="299"/>
                    <a:pt x="976" y="298"/>
                    <a:pt x="972" y="298"/>
                  </a:cubicBezTo>
                  <a:cubicBezTo>
                    <a:pt x="907" y="298"/>
                    <a:pt x="842" y="298"/>
                    <a:pt x="777" y="297"/>
                  </a:cubicBezTo>
                  <a:cubicBezTo>
                    <a:pt x="748" y="297"/>
                    <a:pt x="727" y="285"/>
                    <a:pt x="722" y="261"/>
                  </a:cubicBezTo>
                  <a:cubicBezTo>
                    <a:pt x="720" y="251"/>
                    <a:pt x="719" y="241"/>
                    <a:pt x="720" y="231"/>
                  </a:cubicBezTo>
                  <a:cubicBezTo>
                    <a:pt x="723" y="202"/>
                    <a:pt x="732" y="175"/>
                    <a:pt x="746" y="150"/>
                  </a:cubicBezTo>
                  <a:cubicBezTo>
                    <a:pt x="763" y="118"/>
                    <a:pt x="787" y="94"/>
                    <a:pt x="823" y="86"/>
                  </a:cubicBezTo>
                  <a:cubicBezTo>
                    <a:pt x="835" y="84"/>
                    <a:pt x="847" y="83"/>
                    <a:pt x="859" y="83"/>
                  </a:cubicBezTo>
                  <a:cubicBezTo>
                    <a:pt x="921" y="83"/>
                    <a:pt x="983" y="83"/>
                    <a:pt x="1045" y="84"/>
                  </a:cubicBezTo>
                  <a:cubicBezTo>
                    <a:pt x="1052" y="84"/>
                    <a:pt x="1055" y="81"/>
                    <a:pt x="1057" y="74"/>
                  </a:cubicBezTo>
                  <a:cubicBezTo>
                    <a:pt x="1063" y="54"/>
                    <a:pt x="1070" y="33"/>
                    <a:pt x="1077" y="13"/>
                  </a:cubicBezTo>
                  <a:cubicBezTo>
                    <a:pt x="1078" y="10"/>
                    <a:pt x="1078" y="8"/>
                    <a:pt x="1079" y="4"/>
                  </a:cubicBezTo>
                  <a:cubicBezTo>
                    <a:pt x="1076" y="4"/>
                    <a:pt x="1073" y="4"/>
                    <a:pt x="1071" y="4"/>
                  </a:cubicBezTo>
                  <a:cubicBezTo>
                    <a:pt x="797" y="3"/>
                    <a:pt x="524" y="2"/>
                    <a:pt x="25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EAA9A3AC-499A-4021-A90E-7F3D55E48D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0" y="1811"/>
              <a:ext cx="240" cy="612"/>
            </a:xfrm>
            <a:custGeom>
              <a:avLst/>
              <a:gdLst>
                <a:gd name="T0" fmla="*/ 117 w 197"/>
                <a:gd name="T1" fmla="*/ 172 h 499"/>
                <a:gd name="T2" fmla="*/ 63 w 197"/>
                <a:gd name="T3" fmla="*/ 105 h 499"/>
                <a:gd name="T4" fmla="*/ 37 w 197"/>
                <a:gd name="T5" fmla="*/ 58 h 499"/>
                <a:gd name="T6" fmla="*/ 41 w 197"/>
                <a:gd name="T7" fmla="*/ 0 h 499"/>
                <a:gd name="T8" fmla="*/ 38 w 197"/>
                <a:gd name="T9" fmla="*/ 0 h 499"/>
                <a:gd name="T10" fmla="*/ 15 w 197"/>
                <a:gd name="T11" fmla="*/ 67 h 499"/>
                <a:gd name="T12" fmla="*/ 38 w 197"/>
                <a:gd name="T13" fmla="*/ 203 h 499"/>
                <a:gd name="T14" fmla="*/ 84 w 197"/>
                <a:gd name="T15" fmla="*/ 259 h 499"/>
                <a:gd name="T16" fmla="*/ 115 w 197"/>
                <a:gd name="T17" fmla="*/ 303 h 499"/>
                <a:gd name="T18" fmla="*/ 14 w 197"/>
                <a:gd name="T19" fmla="*/ 480 h 499"/>
                <a:gd name="T20" fmla="*/ 3 w 197"/>
                <a:gd name="T21" fmla="*/ 499 h 499"/>
                <a:gd name="T22" fmla="*/ 57 w 197"/>
                <a:gd name="T23" fmla="*/ 487 h 499"/>
                <a:gd name="T24" fmla="*/ 177 w 197"/>
                <a:gd name="T25" fmla="*/ 283 h 499"/>
                <a:gd name="T26" fmla="*/ 117 w 197"/>
                <a:gd name="T27" fmla="*/ 172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7" h="499">
                  <a:moveTo>
                    <a:pt x="117" y="172"/>
                  </a:moveTo>
                  <a:cubicBezTo>
                    <a:pt x="99" y="150"/>
                    <a:pt x="80" y="128"/>
                    <a:pt x="63" y="105"/>
                  </a:cubicBezTo>
                  <a:cubicBezTo>
                    <a:pt x="52" y="91"/>
                    <a:pt x="44" y="74"/>
                    <a:pt x="37" y="58"/>
                  </a:cubicBezTo>
                  <a:cubicBezTo>
                    <a:pt x="29" y="39"/>
                    <a:pt x="36" y="19"/>
                    <a:pt x="41" y="0"/>
                  </a:cubicBezTo>
                  <a:cubicBezTo>
                    <a:pt x="40" y="0"/>
                    <a:pt x="39" y="0"/>
                    <a:pt x="38" y="0"/>
                  </a:cubicBezTo>
                  <a:cubicBezTo>
                    <a:pt x="30" y="22"/>
                    <a:pt x="21" y="44"/>
                    <a:pt x="15" y="67"/>
                  </a:cubicBezTo>
                  <a:cubicBezTo>
                    <a:pt x="1" y="116"/>
                    <a:pt x="7" y="162"/>
                    <a:pt x="38" y="203"/>
                  </a:cubicBezTo>
                  <a:cubicBezTo>
                    <a:pt x="52" y="222"/>
                    <a:pt x="69" y="240"/>
                    <a:pt x="84" y="259"/>
                  </a:cubicBezTo>
                  <a:cubicBezTo>
                    <a:pt x="95" y="273"/>
                    <a:pt x="108" y="287"/>
                    <a:pt x="115" y="303"/>
                  </a:cubicBezTo>
                  <a:cubicBezTo>
                    <a:pt x="147" y="380"/>
                    <a:pt x="103" y="465"/>
                    <a:pt x="14" y="480"/>
                  </a:cubicBezTo>
                  <a:cubicBezTo>
                    <a:pt x="0" y="483"/>
                    <a:pt x="0" y="483"/>
                    <a:pt x="3" y="499"/>
                  </a:cubicBezTo>
                  <a:cubicBezTo>
                    <a:pt x="21" y="495"/>
                    <a:pt x="39" y="493"/>
                    <a:pt x="57" y="487"/>
                  </a:cubicBezTo>
                  <a:cubicBezTo>
                    <a:pt x="152" y="459"/>
                    <a:pt x="197" y="368"/>
                    <a:pt x="177" y="283"/>
                  </a:cubicBezTo>
                  <a:cubicBezTo>
                    <a:pt x="167" y="240"/>
                    <a:pt x="144" y="205"/>
                    <a:pt x="117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5F03E1E2-8F65-435B-B43E-636CB0D80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7" y="1812"/>
              <a:ext cx="231" cy="610"/>
            </a:xfrm>
            <a:custGeom>
              <a:avLst/>
              <a:gdLst>
                <a:gd name="T0" fmla="*/ 175 w 189"/>
                <a:gd name="T1" fmla="*/ 479 h 497"/>
                <a:gd name="T2" fmla="*/ 172 w 189"/>
                <a:gd name="T3" fmla="*/ 478 h 497"/>
                <a:gd name="T4" fmla="*/ 65 w 189"/>
                <a:gd name="T5" fmla="*/ 353 h 497"/>
                <a:gd name="T6" fmla="*/ 101 w 189"/>
                <a:gd name="T7" fmla="*/ 262 h 497"/>
                <a:gd name="T8" fmla="*/ 153 w 189"/>
                <a:gd name="T9" fmla="*/ 202 h 497"/>
                <a:gd name="T10" fmla="*/ 183 w 189"/>
                <a:gd name="T11" fmla="*/ 122 h 497"/>
                <a:gd name="T12" fmla="*/ 153 w 189"/>
                <a:gd name="T13" fmla="*/ 0 h 497"/>
                <a:gd name="T14" fmla="*/ 153 w 189"/>
                <a:gd name="T15" fmla="*/ 3 h 497"/>
                <a:gd name="T16" fmla="*/ 138 w 189"/>
                <a:gd name="T17" fmla="*/ 92 h 497"/>
                <a:gd name="T18" fmla="*/ 74 w 189"/>
                <a:gd name="T19" fmla="*/ 170 h 497"/>
                <a:gd name="T20" fmla="*/ 17 w 189"/>
                <a:gd name="T21" fmla="*/ 267 h 497"/>
                <a:gd name="T22" fmla="*/ 42 w 189"/>
                <a:gd name="T23" fmla="*/ 424 h 497"/>
                <a:gd name="T24" fmla="*/ 171 w 189"/>
                <a:gd name="T25" fmla="*/ 495 h 497"/>
                <a:gd name="T26" fmla="*/ 186 w 189"/>
                <a:gd name="T27" fmla="*/ 497 h 497"/>
                <a:gd name="T28" fmla="*/ 175 w 189"/>
                <a:gd name="T29" fmla="*/ 479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497">
                  <a:moveTo>
                    <a:pt x="175" y="479"/>
                  </a:moveTo>
                  <a:cubicBezTo>
                    <a:pt x="174" y="479"/>
                    <a:pt x="173" y="479"/>
                    <a:pt x="172" y="478"/>
                  </a:cubicBezTo>
                  <a:cubicBezTo>
                    <a:pt x="109" y="466"/>
                    <a:pt x="65" y="416"/>
                    <a:pt x="65" y="353"/>
                  </a:cubicBezTo>
                  <a:cubicBezTo>
                    <a:pt x="64" y="318"/>
                    <a:pt x="77" y="288"/>
                    <a:pt x="101" y="262"/>
                  </a:cubicBezTo>
                  <a:cubicBezTo>
                    <a:pt x="119" y="243"/>
                    <a:pt x="137" y="223"/>
                    <a:pt x="153" y="202"/>
                  </a:cubicBezTo>
                  <a:cubicBezTo>
                    <a:pt x="171" y="179"/>
                    <a:pt x="181" y="152"/>
                    <a:pt x="183" y="122"/>
                  </a:cubicBezTo>
                  <a:cubicBezTo>
                    <a:pt x="187" y="78"/>
                    <a:pt x="169" y="39"/>
                    <a:pt x="153" y="0"/>
                  </a:cubicBezTo>
                  <a:cubicBezTo>
                    <a:pt x="153" y="1"/>
                    <a:pt x="153" y="2"/>
                    <a:pt x="153" y="3"/>
                  </a:cubicBezTo>
                  <a:cubicBezTo>
                    <a:pt x="164" y="35"/>
                    <a:pt x="158" y="65"/>
                    <a:pt x="138" y="92"/>
                  </a:cubicBezTo>
                  <a:cubicBezTo>
                    <a:pt x="117" y="118"/>
                    <a:pt x="96" y="144"/>
                    <a:pt x="74" y="170"/>
                  </a:cubicBezTo>
                  <a:cubicBezTo>
                    <a:pt x="50" y="199"/>
                    <a:pt x="28" y="230"/>
                    <a:pt x="17" y="267"/>
                  </a:cubicBezTo>
                  <a:cubicBezTo>
                    <a:pt x="0" y="323"/>
                    <a:pt x="7" y="376"/>
                    <a:pt x="42" y="424"/>
                  </a:cubicBezTo>
                  <a:cubicBezTo>
                    <a:pt x="74" y="467"/>
                    <a:pt x="120" y="487"/>
                    <a:pt x="171" y="495"/>
                  </a:cubicBezTo>
                  <a:cubicBezTo>
                    <a:pt x="176" y="496"/>
                    <a:pt x="181" y="496"/>
                    <a:pt x="186" y="497"/>
                  </a:cubicBezTo>
                  <a:cubicBezTo>
                    <a:pt x="189" y="481"/>
                    <a:pt x="189" y="481"/>
                    <a:pt x="175" y="4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8FE8EC60-C321-4EC2-A11A-426ED47BB1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3" y="1988"/>
              <a:ext cx="307" cy="414"/>
            </a:xfrm>
            <a:custGeom>
              <a:avLst/>
              <a:gdLst>
                <a:gd name="T0" fmla="*/ 241 w 252"/>
                <a:gd name="T1" fmla="*/ 190 h 338"/>
                <a:gd name="T2" fmla="*/ 203 w 252"/>
                <a:gd name="T3" fmla="*/ 121 h 338"/>
                <a:gd name="T4" fmla="*/ 126 w 252"/>
                <a:gd name="T5" fmla="*/ 1 h 338"/>
                <a:gd name="T6" fmla="*/ 125 w 252"/>
                <a:gd name="T7" fmla="*/ 0 h 338"/>
                <a:gd name="T8" fmla="*/ 108 w 252"/>
                <a:gd name="T9" fmla="*/ 41 h 338"/>
                <a:gd name="T10" fmla="*/ 44 w 252"/>
                <a:gd name="T11" fmla="*/ 122 h 338"/>
                <a:gd name="T12" fmla="*/ 9 w 252"/>
                <a:gd name="T13" fmla="*/ 236 h 338"/>
                <a:gd name="T14" fmla="*/ 148 w 252"/>
                <a:gd name="T15" fmla="*/ 326 h 338"/>
                <a:gd name="T16" fmla="*/ 241 w 252"/>
                <a:gd name="T17" fmla="*/ 190 h 338"/>
                <a:gd name="T18" fmla="*/ 28 w 252"/>
                <a:gd name="T19" fmla="*/ 209 h 338"/>
                <a:gd name="T20" fmla="*/ 125 w 252"/>
                <a:gd name="T21" fmla="*/ 114 h 338"/>
                <a:gd name="T22" fmla="*/ 220 w 252"/>
                <a:gd name="T23" fmla="*/ 210 h 338"/>
                <a:gd name="T24" fmla="*/ 124 w 252"/>
                <a:gd name="T25" fmla="*/ 305 h 338"/>
                <a:gd name="T26" fmla="*/ 28 w 252"/>
                <a:gd name="T27" fmla="*/ 209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2" h="338">
                  <a:moveTo>
                    <a:pt x="241" y="190"/>
                  </a:moveTo>
                  <a:cubicBezTo>
                    <a:pt x="236" y="162"/>
                    <a:pt x="223" y="140"/>
                    <a:pt x="203" y="121"/>
                  </a:cubicBezTo>
                  <a:cubicBezTo>
                    <a:pt x="169" y="86"/>
                    <a:pt x="139" y="49"/>
                    <a:pt x="126" y="1"/>
                  </a:cubicBezTo>
                  <a:cubicBezTo>
                    <a:pt x="126" y="1"/>
                    <a:pt x="126" y="0"/>
                    <a:pt x="125" y="0"/>
                  </a:cubicBezTo>
                  <a:cubicBezTo>
                    <a:pt x="119" y="14"/>
                    <a:pt x="114" y="28"/>
                    <a:pt x="108" y="41"/>
                  </a:cubicBezTo>
                  <a:cubicBezTo>
                    <a:pt x="92" y="72"/>
                    <a:pt x="68" y="98"/>
                    <a:pt x="44" y="122"/>
                  </a:cubicBezTo>
                  <a:cubicBezTo>
                    <a:pt x="12" y="154"/>
                    <a:pt x="0" y="192"/>
                    <a:pt x="9" y="236"/>
                  </a:cubicBezTo>
                  <a:cubicBezTo>
                    <a:pt x="22" y="298"/>
                    <a:pt x="84" y="338"/>
                    <a:pt x="148" y="326"/>
                  </a:cubicBezTo>
                  <a:cubicBezTo>
                    <a:pt x="210" y="314"/>
                    <a:pt x="252" y="252"/>
                    <a:pt x="241" y="190"/>
                  </a:cubicBezTo>
                  <a:close/>
                  <a:moveTo>
                    <a:pt x="28" y="209"/>
                  </a:moveTo>
                  <a:cubicBezTo>
                    <a:pt x="28" y="157"/>
                    <a:pt x="72" y="114"/>
                    <a:pt x="125" y="114"/>
                  </a:cubicBezTo>
                  <a:cubicBezTo>
                    <a:pt x="178" y="114"/>
                    <a:pt x="220" y="157"/>
                    <a:pt x="220" y="210"/>
                  </a:cubicBezTo>
                  <a:cubicBezTo>
                    <a:pt x="220" y="263"/>
                    <a:pt x="177" y="305"/>
                    <a:pt x="124" y="305"/>
                  </a:cubicBezTo>
                  <a:cubicBezTo>
                    <a:pt x="72" y="306"/>
                    <a:pt x="28" y="262"/>
                    <a:pt x="28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DF2B3925-97DC-4D23-B0EA-6B8E3FE54F2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9572" y="6327866"/>
            <a:ext cx="512658" cy="40717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0231540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AD81B-6B44-454A-B03C-C17F646705FA}" type="datetimeFigureOut">
              <a:rPr lang="en-US" smtClean="0"/>
              <a:t>6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AE655-3508-45B8-BD1C-EB05F988AF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83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AD81B-6B44-454A-B03C-C17F646705FA}" type="datetimeFigureOut">
              <a:rPr lang="en-US" smtClean="0"/>
              <a:t>6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AE655-3508-45B8-BD1C-EB05F988AF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5709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AD81B-6B44-454A-B03C-C17F646705FA}" type="datetimeFigureOut">
              <a:rPr lang="en-US" smtClean="0"/>
              <a:t>6/1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AE655-3508-45B8-BD1C-EB05F988AF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4908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AD81B-6B44-454A-B03C-C17F646705FA}" type="datetimeFigureOut">
              <a:rPr lang="en-US" smtClean="0"/>
              <a:t>6/14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AE655-3508-45B8-BD1C-EB05F988AF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8451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AD81B-6B44-454A-B03C-C17F646705FA}" type="datetimeFigureOut">
              <a:rPr lang="en-US" smtClean="0"/>
              <a:t>6/1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AE655-3508-45B8-BD1C-EB05F988AF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0431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AD81B-6B44-454A-B03C-C17F646705FA}" type="datetimeFigureOut">
              <a:rPr lang="en-US" smtClean="0"/>
              <a:t>6/1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AE655-3508-45B8-BD1C-EB05F988AF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1348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AD81B-6B44-454A-B03C-C17F646705FA}" type="datetimeFigureOut">
              <a:rPr lang="en-US" smtClean="0"/>
              <a:t>6/1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AE655-3508-45B8-BD1C-EB05F988AF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72556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AD81B-6B44-454A-B03C-C17F646705FA}" type="datetimeFigureOut">
              <a:rPr lang="en-US" smtClean="0"/>
              <a:t>6/1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6AE655-3508-45B8-BD1C-EB05F988AF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1949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13.xml"/><Relationship Id="rId7" Type="http://schemas.openxmlformats.org/officeDocument/2006/relationships/theme" Target="../theme/theme2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image" Target="../media/image2.jpeg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3AD81B-6B44-454A-B03C-C17F646705FA}" type="datetimeFigureOut">
              <a:rPr lang="en-US" smtClean="0"/>
              <a:t>6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6AE655-3508-45B8-BD1C-EB05F988AF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601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62" y="214588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61" y="38432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62" y="5409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3259" y="6329507"/>
            <a:ext cx="963805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2611" indent="-82611">
              <a:defRPr lang="x-none"/>
            </a:pPr>
            <a:r>
              <a:rPr lang="x-none" sz="816" baseline="0" dirty="0">
                <a:solidFill>
                  <a:srgbClr val="808080"/>
                </a:solidFill>
                <a:latin typeface="+mn-lt"/>
                <a:ea typeface="+mn-ea"/>
              </a:rPr>
              <a:t>1 Footnote</a:t>
            </a:r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233259" y="6630256"/>
            <a:ext cx="963805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524818" indent="-524818" defTabSz="913572">
              <a:tabLst/>
            </a:pPr>
            <a:r>
              <a:rPr lang="x-none" sz="816" baseline="0" dirty="0">
                <a:solidFill>
                  <a:srgbClr val="808080"/>
                </a:solidFill>
                <a:latin typeface="+mn-lt"/>
                <a:ea typeface="+mn-ea"/>
              </a:rPr>
              <a:t>SOURCE : Source</a:t>
            </a:r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10" y="1991017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270345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A1A11E3-2EBD-4AB5-9FF7-E4BD55D40793}"/>
              </a:ext>
            </a:extLst>
          </p:cNvPr>
          <p:cNvGrpSpPr/>
          <p:nvPr/>
        </p:nvGrpSpPr>
        <p:grpSpPr>
          <a:xfrm>
            <a:off x="0" y="6508404"/>
            <a:ext cx="10169556" cy="44217"/>
            <a:chOff x="0" y="6378838"/>
            <a:chExt cx="9674654" cy="43337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4BE7BB01-D160-4A40-A085-7D37BF1632C9}"/>
                </a:ext>
              </a:extLst>
            </p:cNvPr>
            <p:cNvSpPr/>
            <p:nvPr/>
          </p:nvSpPr>
          <p:spPr>
            <a:xfrm flipH="1">
              <a:off x="0" y="6408886"/>
              <a:ext cx="9674654" cy="13289"/>
            </a:xfrm>
            <a:prstGeom prst="rect">
              <a:avLst/>
            </a:prstGeom>
            <a:gradFill flip="none" rotWithShape="1">
              <a:gsLst>
                <a:gs pos="100000">
                  <a:schemeClr val="accent5"/>
                </a:gs>
                <a:gs pos="0">
                  <a:srgbClr val="33CCFF"/>
                </a:gs>
                <a:gs pos="53000">
                  <a:schemeClr val="accent4"/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32" dirty="0" err="1">
                <a:solidFill>
                  <a:schemeClr val="tx1"/>
                </a:solidFill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77CCF884-A437-4987-BC74-D0F553B46FF7}"/>
                </a:ext>
              </a:extLst>
            </p:cNvPr>
            <p:cNvSpPr/>
            <p:nvPr/>
          </p:nvSpPr>
          <p:spPr>
            <a:xfrm flipH="1">
              <a:off x="0" y="6378838"/>
              <a:ext cx="9674654" cy="13289"/>
            </a:xfrm>
            <a:prstGeom prst="rect">
              <a:avLst/>
            </a:prstGeom>
            <a:gradFill flip="none" rotWithShape="1">
              <a:gsLst>
                <a:gs pos="100000">
                  <a:schemeClr val="accent5"/>
                </a:gs>
                <a:gs pos="0">
                  <a:srgbClr val="33CCFF"/>
                </a:gs>
                <a:gs pos="53000">
                  <a:schemeClr val="accent4"/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32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69" name="Slide Number">
            <a:extLst>
              <a:ext uri="{FF2B5EF4-FFF2-40B4-BE49-F238E27FC236}">
                <a16:creationId xmlns:a16="http://schemas.microsoft.com/office/drawing/2014/main" id="{E837A71B-B3CF-4F96-A1FD-0B8801C2A0B6}"/>
              </a:ext>
            </a:extLst>
          </p:cNvPr>
          <p:cNvSpPr txBox="1">
            <a:spLocks/>
          </p:cNvSpPr>
          <p:nvPr/>
        </p:nvSpPr>
        <p:spPr bwMode="black">
          <a:xfrm>
            <a:off x="11647098" y="6466242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sz="816" dirty="0">
              <a:solidFill>
                <a:schemeClr val="accent6"/>
              </a:solidFill>
              <a:latin typeface="+mn-lt"/>
            </a:endParaRPr>
          </a:p>
        </p:txBody>
      </p:sp>
      <p:grpSp>
        <p:nvGrpSpPr>
          <p:cNvPr id="64" name="Sticker" hidden="1">
            <a:extLst>
              <a:ext uri="{FF2B5EF4-FFF2-40B4-BE49-F238E27FC236}">
                <a16:creationId xmlns:a16="http://schemas.microsoft.com/office/drawing/2014/main" id="{B41C4043-8485-43D6-A1F1-B46131EC270B}"/>
              </a:ext>
            </a:extLst>
          </p:cNvPr>
          <p:cNvGrpSpPr/>
          <p:nvPr/>
        </p:nvGrpSpPr>
        <p:grpSpPr bwMode="auto">
          <a:xfrm>
            <a:off x="11465976" y="269353"/>
            <a:ext cx="492770" cy="156360"/>
            <a:chOff x="8257822" y="285750"/>
            <a:chExt cx="482953" cy="153247"/>
          </a:xfrm>
        </p:grpSpPr>
        <p:sp>
          <p:nvSpPr>
            <p:cNvPr id="65" name="StickerRectangle">
              <a:extLst>
                <a:ext uri="{FF2B5EF4-FFF2-40B4-BE49-F238E27FC236}">
                  <a16:creationId xmlns:a16="http://schemas.microsoft.com/office/drawing/2014/main" id="{C797838F-C647-48DC-8DC7-B9761596EC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57822" y="285750"/>
              <a:ext cx="482953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x-none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0" name="AutoShape 31">
              <a:extLst>
                <a:ext uri="{FF2B5EF4-FFF2-40B4-BE49-F238E27FC236}">
                  <a16:creationId xmlns:a16="http://schemas.microsoft.com/office/drawing/2014/main" id="{58DA6489-F672-4D37-97E6-523570560E2F}"/>
                </a:ext>
              </a:extLst>
            </p:cNvPr>
            <p:cNvCxnSpPr>
              <a:cxnSpLocks noChangeShapeType="1"/>
              <a:stCxn id="65" idx="2"/>
              <a:endCxn id="65" idx="4"/>
            </p:cNvCxnSpPr>
            <p:nvPr/>
          </p:nvCxnSpPr>
          <p:spPr bwMode="auto">
            <a:xfrm>
              <a:off x="8257822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" name="AutoShape 32">
              <a:extLst>
                <a:ext uri="{FF2B5EF4-FFF2-40B4-BE49-F238E27FC236}">
                  <a16:creationId xmlns:a16="http://schemas.microsoft.com/office/drawing/2014/main" id="{474E4078-52FD-40F7-88D8-877FF26E2811}"/>
                </a:ext>
              </a:extLst>
            </p:cNvPr>
            <p:cNvCxnSpPr>
              <a:cxnSpLocks noChangeShapeType="1"/>
              <a:stCxn id="65" idx="4"/>
              <a:endCxn id="65" idx="6"/>
            </p:cNvCxnSpPr>
            <p:nvPr/>
          </p:nvCxnSpPr>
          <p:spPr bwMode="auto">
            <a:xfrm>
              <a:off x="8257822" y="438997"/>
              <a:ext cx="48295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2" name="LegendBoxes" hidden="1">
            <a:extLst>
              <a:ext uri="{FF2B5EF4-FFF2-40B4-BE49-F238E27FC236}">
                <a16:creationId xmlns:a16="http://schemas.microsoft.com/office/drawing/2014/main" id="{A19112CC-AB43-455E-81D7-2582F3E36D76}"/>
              </a:ext>
            </a:extLst>
          </p:cNvPr>
          <p:cNvGrpSpPr/>
          <p:nvPr/>
        </p:nvGrpSpPr>
        <p:grpSpPr bwMode="auto">
          <a:xfrm>
            <a:off x="11179466" y="269353"/>
            <a:ext cx="789093" cy="1021522"/>
            <a:chOff x="7835905" y="279400"/>
            <a:chExt cx="773373" cy="1001186"/>
          </a:xfrm>
        </p:grpSpPr>
        <p:sp>
          <p:nvSpPr>
            <p:cNvPr id="73" name="RectangleLegend1">
              <a:extLst>
                <a:ext uri="{FF2B5EF4-FFF2-40B4-BE49-F238E27FC236}">
                  <a16:creationId xmlns:a16="http://schemas.microsoft.com/office/drawing/2014/main" id="{9A5DB5DF-F0F7-48F8-88CC-05B64BBA7C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837" baseline="0" dirty="0">
                <a:latin typeface="+mn-lt"/>
                <a:ea typeface="+mn-ea"/>
              </a:endParaRPr>
            </a:p>
          </p:txBody>
        </p:sp>
        <p:sp>
          <p:nvSpPr>
            <p:cNvPr id="74" name="RectangleLegend2">
              <a:extLst>
                <a:ext uri="{FF2B5EF4-FFF2-40B4-BE49-F238E27FC236}">
                  <a16:creationId xmlns:a16="http://schemas.microsoft.com/office/drawing/2014/main" id="{0C7DCE33-25AE-49A9-BA52-D5C362AE70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837" baseline="0" dirty="0">
                <a:latin typeface="+mn-lt"/>
                <a:ea typeface="+mn-ea"/>
              </a:endParaRPr>
            </a:p>
          </p:txBody>
        </p:sp>
        <p:sp>
          <p:nvSpPr>
            <p:cNvPr id="75" name="RectangleLegend3">
              <a:extLst>
                <a:ext uri="{FF2B5EF4-FFF2-40B4-BE49-F238E27FC236}">
                  <a16:creationId xmlns:a16="http://schemas.microsoft.com/office/drawing/2014/main" id="{69422CD3-8046-4DF8-BE5A-E049B77664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837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4">
              <a:extLst>
                <a:ext uri="{FF2B5EF4-FFF2-40B4-BE49-F238E27FC236}">
                  <a16:creationId xmlns:a16="http://schemas.microsoft.com/office/drawing/2014/main" id="{CC87E30F-9D1A-45C9-BC90-B75F389AF5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837" baseline="0" dirty="0">
                <a:latin typeface="+mn-lt"/>
                <a:ea typeface="+mn-ea"/>
              </a:endParaRPr>
            </a:p>
          </p:txBody>
        </p:sp>
        <p:sp>
          <p:nvSpPr>
            <p:cNvPr id="77" name="Legend1">
              <a:extLst>
                <a:ext uri="{FF2B5EF4-FFF2-40B4-BE49-F238E27FC236}">
                  <a16:creationId xmlns:a16="http://schemas.microsoft.com/office/drawing/2014/main" id="{F934DDE3-5687-449F-B81B-E6138C3F52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2">
              <a:extLst>
                <a:ext uri="{FF2B5EF4-FFF2-40B4-BE49-F238E27FC236}">
                  <a16:creationId xmlns:a16="http://schemas.microsoft.com/office/drawing/2014/main" id="{4483D635-C59C-4144-B895-1B7799ECF1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3">
              <a:extLst>
                <a:ext uri="{FF2B5EF4-FFF2-40B4-BE49-F238E27FC236}">
                  <a16:creationId xmlns:a16="http://schemas.microsoft.com/office/drawing/2014/main" id="{0A505D0A-97C7-4119-9530-174653DAAE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4">
              <a:extLst>
                <a:ext uri="{FF2B5EF4-FFF2-40B4-BE49-F238E27FC236}">
                  <a16:creationId xmlns:a16="http://schemas.microsoft.com/office/drawing/2014/main" id="{6C80A9A2-7C25-45D1-B06F-32D81F57B0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1" name="LegendLines" hidden="1">
            <a:extLst>
              <a:ext uri="{FF2B5EF4-FFF2-40B4-BE49-F238E27FC236}">
                <a16:creationId xmlns:a16="http://schemas.microsoft.com/office/drawing/2014/main" id="{42B01F32-E0B0-47FA-814B-96B694AEA387}"/>
              </a:ext>
            </a:extLst>
          </p:cNvPr>
          <p:cNvGrpSpPr/>
          <p:nvPr/>
        </p:nvGrpSpPr>
        <p:grpSpPr bwMode="auto">
          <a:xfrm>
            <a:off x="10865401" y="269353"/>
            <a:ext cx="1103328" cy="749405"/>
            <a:chOff x="7540629" y="279400"/>
            <a:chExt cx="1081348" cy="734486"/>
          </a:xfrm>
        </p:grpSpPr>
        <p:sp>
          <p:nvSpPr>
            <p:cNvPr id="82" name="LineLegend1">
              <a:extLst>
                <a:ext uri="{FF2B5EF4-FFF2-40B4-BE49-F238E27FC236}">
                  <a16:creationId xmlns:a16="http://schemas.microsoft.com/office/drawing/2014/main" id="{AFFA0828-8F8D-411F-AA15-EE32333E06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837" baseline="0" dirty="0">
                <a:latin typeface="+mn-lt"/>
                <a:ea typeface="+mn-ea"/>
              </a:endParaRPr>
            </a:p>
          </p:txBody>
        </p:sp>
        <p:sp>
          <p:nvSpPr>
            <p:cNvPr id="83" name="LineLegend2">
              <a:extLst>
                <a:ext uri="{FF2B5EF4-FFF2-40B4-BE49-F238E27FC236}">
                  <a16:creationId xmlns:a16="http://schemas.microsoft.com/office/drawing/2014/main" id="{6DD04F07-DEE0-457A-BE62-E7F4144DE1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837" baseline="0" dirty="0">
                <a:latin typeface="+mn-lt"/>
                <a:ea typeface="+mn-ea"/>
              </a:endParaRPr>
            </a:p>
          </p:txBody>
        </p:sp>
        <p:sp>
          <p:nvSpPr>
            <p:cNvPr id="84" name="LineLegend3">
              <a:extLst>
                <a:ext uri="{FF2B5EF4-FFF2-40B4-BE49-F238E27FC236}">
                  <a16:creationId xmlns:a16="http://schemas.microsoft.com/office/drawing/2014/main" id="{FE16D6C4-52D7-40E5-9275-48996B0008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837" baseline="0" dirty="0">
                <a:latin typeface="+mn-lt"/>
                <a:ea typeface="+mn-ea"/>
              </a:endParaRPr>
            </a:p>
          </p:txBody>
        </p:sp>
        <p:sp>
          <p:nvSpPr>
            <p:cNvPr id="85" name="Legend1">
              <a:extLst>
                <a:ext uri="{FF2B5EF4-FFF2-40B4-BE49-F238E27FC236}">
                  <a16:creationId xmlns:a16="http://schemas.microsoft.com/office/drawing/2014/main" id="{05A9A79B-18CC-4428-8B8F-857F3F4121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>
              <a:extLst>
                <a:ext uri="{FF2B5EF4-FFF2-40B4-BE49-F238E27FC236}">
                  <a16:creationId xmlns:a16="http://schemas.microsoft.com/office/drawing/2014/main" id="{4561A0AA-A963-4598-A94E-11560079B5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>
              <a:extLst>
                <a:ext uri="{FF2B5EF4-FFF2-40B4-BE49-F238E27FC236}">
                  <a16:creationId xmlns:a16="http://schemas.microsoft.com/office/drawing/2014/main" id="{80B06B9F-ECFC-4B85-9C1D-C7B7B21AAC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8" name="LegendMoons" hidden="1">
            <a:extLst>
              <a:ext uri="{FF2B5EF4-FFF2-40B4-BE49-F238E27FC236}">
                <a16:creationId xmlns:a16="http://schemas.microsoft.com/office/drawing/2014/main" id="{848ED5D5-EF09-497D-ACC0-B9AEFD0CB07C}"/>
              </a:ext>
            </a:extLst>
          </p:cNvPr>
          <p:cNvGrpSpPr/>
          <p:nvPr/>
        </p:nvGrpSpPr>
        <p:grpSpPr bwMode="auto">
          <a:xfrm>
            <a:off x="11111435" y="269353"/>
            <a:ext cx="857123" cy="1333054"/>
            <a:chOff x="7769225" y="250825"/>
            <a:chExt cx="840048" cy="1306516"/>
          </a:xfrm>
        </p:grpSpPr>
        <p:grpSp>
          <p:nvGrpSpPr>
            <p:cNvPr id="89" name="MoonLegend1">
              <a:extLst>
                <a:ext uri="{FF2B5EF4-FFF2-40B4-BE49-F238E27FC236}">
                  <a16:creationId xmlns:a16="http://schemas.microsoft.com/office/drawing/2014/main" id="{C0FBF289-BE73-43DA-B717-AA2EC5F0DCF1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7" name="Oval 38">
                <a:extLst>
                  <a:ext uri="{FF2B5EF4-FFF2-40B4-BE49-F238E27FC236}">
                    <a16:creationId xmlns:a16="http://schemas.microsoft.com/office/drawing/2014/main" id="{2AD4D53F-1339-4C9A-AEE9-F3545981051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8" name="Arc 39">
                <a:extLst>
                  <a:ext uri="{FF2B5EF4-FFF2-40B4-BE49-F238E27FC236}">
                    <a16:creationId xmlns:a16="http://schemas.microsoft.com/office/drawing/2014/main" id="{78BD26B1-30BD-435C-BF52-E16A426933F4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0" name="MoonLegend2">
              <a:extLst>
                <a:ext uri="{FF2B5EF4-FFF2-40B4-BE49-F238E27FC236}">
                  <a16:creationId xmlns:a16="http://schemas.microsoft.com/office/drawing/2014/main" id="{01D708B9-F09A-4A3B-A5C6-4BFF9FDA6769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834356B7-EB86-4D50-84D8-8E91DFB8B007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C03F7F1A-6199-487C-82D2-13BD3E0D5872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4">
              <a:extLst>
                <a:ext uri="{FF2B5EF4-FFF2-40B4-BE49-F238E27FC236}">
                  <a16:creationId xmlns:a16="http://schemas.microsoft.com/office/drawing/2014/main" id="{BCE41709-12FF-41EE-A40C-3800B2105CDD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79FD71D7-8B0C-4128-B0D8-6BEC605D8C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CFF5F3E5-4C44-4E68-BD9C-1B043571E221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5">
              <a:extLst>
                <a:ext uri="{FF2B5EF4-FFF2-40B4-BE49-F238E27FC236}">
                  <a16:creationId xmlns:a16="http://schemas.microsoft.com/office/drawing/2014/main" id="{97D2CF36-E7A6-442A-AAC8-C4BDABF93B32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ACE9C131-E743-4C10-B46D-93244F3E682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81B08B1E-FBAA-4226-AE5E-466DE3B11EE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3">
              <a:extLst>
                <a:ext uri="{FF2B5EF4-FFF2-40B4-BE49-F238E27FC236}">
                  <a16:creationId xmlns:a16="http://schemas.microsoft.com/office/drawing/2014/main" id="{5A2CC9A0-2A02-41FA-8500-621CB82B67CA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9B8219BD-0B7D-426B-A7AB-D60EABB5E04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8D94C48A-7652-4096-A0E5-BB07916C1A06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4" name="Legend1">
              <a:extLst>
                <a:ext uri="{FF2B5EF4-FFF2-40B4-BE49-F238E27FC236}">
                  <a16:creationId xmlns:a16="http://schemas.microsoft.com/office/drawing/2014/main" id="{4D5D6155-CC92-4D8A-8C82-E9BCB3360A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9900" y="2635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5" name="Legend2">
              <a:extLst>
                <a:ext uri="{FF2B5EF4-FFF2-40B4-BE49-F238E27FC236}">
                  <a16:creationId xmlns:a16="http://schemas.microsoft.com/office/drawing/2014/main" id="{0149BE0C-7E62-45FB-8ACB-89A1508487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9900" y="5381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6" name="Legend3">
              <a:extLst>
                <a:ext uri="{FF2B5EF4-FFF2-40B4-BE49-F238E27FC236}">
                  <a16:creationId xmlns:a16="http://schemas.microsoft.com/office/drawing/2014/main" id="{76DDDC5E-7EA5-4F7A-BC43-B788B4A021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9900" y="8128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4">
              <a:extLst>
                <a:ext uri="{FF2B5EF4-FFF2-40B4-BE49-F238E27FC236}">
                  <a16:creationId xmlns:a16="http://schemas.microsoft.com/office/drawing/2014/main" id="{29EA249F-93A2-4923-9CE9-DE869488DF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9900" y="10842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5">
              <a:extLst>
                <a:ext uri="{FF2B5EF4-FFF2-40B4-BE49-F238E27FC236}">
                  <a16:creationId xmlns:a16="http://schemas.microsoft.com/office/drawing/2014/main" id="{914C0F6F-B437-4883-B8E1-0437C31850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9900" y="13604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3BC09505-8203-4F41-BDD5-ABD6A630F9DB}"/>
              </a:ext>
            </a:extLst>
          </p:cNvPr>
          <p:cNvPicPr>
            <a:picLocks noChangeAspect="1"/>
          </p:cNvPicPr>
          <p:nvPr/>
        </p:nvPicPr>
        <p:blipFill rotWithShape="1">
          <a:blip r:embed="rId2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2711" y="6409999"/>
            <a:ext cx="563119" cy="211867"/>
          </a:xfrm>
          <a:prstGeom prst="rect">
            <a:avLst/>
          </a:prstGeom>
        </p:spPr>
      </p:pic>
      <p:pic>
        <p:nvPicPr>
          <p:cNvPr id="110" name="Picture 109">
            <a:extLst>
              <a:ext uri="{FF2B5EF4-FFF2-40B4-BE49-F238E27FC236}">
                <a16:creationId xmlns:a16="http://schemas.microsoft.com/office/drawing/2014/main" id="{2B87E8F6-D2A9-49DA-ADAF-BB28829830B1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9572" y="6327867"/>
            <a:ext cx="385844" cy="376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71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9" r:id="rId3"/>
    <p:sldLayoutId id="2147483676" r:id="rId4"/>
    <p:sldLayoutId id="2147483677" r:id="rId5"/>
    <p:sldLayoutId id="2147483675" r:id="rId6"/>
  </p:sldLayoutIdLst>
  <p:txStyles>
    <p:titleStyle>
      <a:lvl1pPr algn="l" defTabSz="913572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lang="x-none" sz="2041" b="0" baseline="0">
          <a:solidFill>
            <a:schemeClr val="accent3"/>
          </a:solidFill>
          <a:latin typeface="+mj-lt"/>
          <a:ea typeface="+mj-ea"/>
          <a:cs typeface="+mj-cs"/>
        </a:defRPr>
      </a:lvl1pPr>
      <a:lvl2pPr algn="l" defTabSz="913572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72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72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72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505" algn="l" defTabSz="913572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3009" algn="l" defTabSz="913572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513" algn="l" defTabSz="913572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6019" algn="l" defTabSz="913572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17" indent="-195998" algn="l" defTabSz="913572" rtl="0" eaLnBrk="1" fontAlgn="base" hangingPunct="1">
        <a:spcBef>
          <a:spcPct val="0"/>
        </a:spcBef>
        <a:spcAft>
          <a:spcPct val="0"/>
        </a:spcAft>
        <a:buClr>
          <a:schemeClr val="accent5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505" indent="-267269" algn="l" defTabSz="913572" rtl="0" eaLnBrk="1" fontAlgn="base" hangingPunct="1">
        <a:spcBef>
          <a:spcPct val="0"/>
        </a:spcBef>
        <a:spcAft>
          <a:spcPct val="0"/>
        </a:spcAft>
        <a:buClr>
          <a:schemeClr val="accent5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66" indent="-158741" algn="l" defTabSz="913572" rtl="0" eaLnBrk="1" fontAlgn="base" hangingPunct="1">
        <a:spcBef>
          <a:spcPct val="0"/>
        </a:spcBef>
        <a:spcAft>
          <a:spcPct val="0"/>
        </a:spcAft>
        <a:buClr>
          <a:schemeClr val="accent5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68" indent="-132824" algn="l" defTabSz="913572" rtl="0" eaLnBrk="1" fontAlgn="base" hangingPunct="1">
        <a:spcBef>
          <a:spcPct val="0"/>
        </a:spcBef>
        <a:spcAft>
          <a:spcPct val="0"/>
        </a:spcAft>
        <a:buClr>
          <a:schemeClr val="accent5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68" indent="-132824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68" indent="-132824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68" indent="-132824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68" indent="-132824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5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9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5.png"/><Relationship Id="rId4" Type="http://schemas.microsoft.com/office/2014/relationships/chartEx" Target="../charts/chartEx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E64C437-8002-4E23-9D4D-2BEA8803D5C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586" t="14389" r="5080" b="50182"/>
          <a:stretch/>
        </p:blipFill>
        <p:spPr>
          <a:xfrm rot="10800000" flipV="1">
            <a:off x="183" y="-8793"/>
            <a:ext cx="12191634" cy="6866792"/>
          </a:xfrm>
          <a:prstGeom prst="rect">
            <a:avLst/>
          </a:prstGeom>
          <a:effectLst>
            <a:outerShdw blurRad="50800" dist="50800" dir="5400000" sx="1000" sy="1000" algn="ctr" rotWithShape="0">
              <a:srgbClr val="000000">
                <a:alpha val="10000"/>
              </a:srgbClr>
            </a:outerShdw>
          </a:effec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0A480DF-52CB-4B83-BBD1-F199CFC00C91}"/>
              </a:ext>
            </a:extLst>
          </p:cNvPr>
          <p:cNvSpPr/>
          <p:nvPr/>
        </p:nvSpPr>
        <p:spPr>
          <a:xfrm>
            <a:off x="91" y="3443349"/>
            <a:ext cx="12191727" cy="731767"/>
          </a:xfrm>
          <a:prstGeom prst="rect">
            <a:avLst/>
          </a:prstGeom>
          <a:noFill/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4374">
              <a:defRPr/>
            </a:pPr>
            <a:r>
              <a:rPr lang="en-US" sz="4800" dirty="0">
                <a:solidFill>
                  <a:srgbClr val="FFFFFF"/>
                </a:solidFill>
                <a:latin typeface="DB Heavent" panose="02000506060000020004" pitchFamily="2" charset="-34"/>
                <a:cs typeface="DB Heavent" panose="02000506060000020004" pitchFamily="2" charset="-34"/>
              </a:rPr>
              <a:t>Team survey</a:t>
            </a:r>
            <a:endParaRPr lang="en-US" sz="4489" dirty="0">
              <a:solidFill>
                <a:srgbClr val="FFFFFF"/>
              </a:solidFill>
              <a:latin typeface="DB Heavent" panose="02000506060000020004" pitchFamily="2" charset="-34"/>
              <a:cs typeface="DB Heavent" panose="02000506060000020004" pitchFamily="2" charset="-34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32C17B1-B3B8-4741-8068-93525A73F5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5026" y="1"/>
            <a:ext cx="1306791" cy="60313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EC349AE-2CDC-4F66-AEA7-47C9734C61E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8110" y="1272749"/>
            <a:ext cx="2326893" cy="2047667"/>
          </a:xfrm>
          <a:prstGeom prst="rect">
            <a:avLst/>
          </a:prstGeom>
          <a:effectLst/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9D77E84-63C9-44C2-86D7-D0E824E1A583}"/>
              </a:ext>
            </a:extLst>
          </p:cNvPr>
          <p:cNvSpPr/>
          <p:nvPr/>
        </p:nvSpPr>
        <p:spPr>
          <a:xfrm>
            <a:off x="5685119" y="1865958"/>
            <a:ext cx="3786061" cy="8234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14374">
              <a:defRPr/>
            </a:pPr>
            <a:r>
              <a:rPr lang="en-US" sz="7961" dirty="0">
                <a:solidFill>
                  <a:prstClr val="white"/>
                </a:solidFill>
                <a:latin typeface="DB Heavent" panose="02000506060000020004" pitchFamily="2" charset="-34"/>
                <a:cs typeface="DB Heavent" panose="02000506060000020004" pitchFamily="2" charset="-34"/>
              </a:rPr>
              <a:t> | Analytic</a:t>
            </a:r>
            <a:endParaRPr lang="th-TH" sz="7961" dirty="0">
              <a:solidFill>
                <a:prstClr val="white"/>
              </a:solidFill>
              <a:latin typeface="DB Heavent" panose="02000506060000020004" pitchFamily="2" charset="-34"/>
              <a:cs typeface="DB Heavent" panose="0200050606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2738935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8B8DFD-A2F1-47E2-BBE0-39C74E171D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Summary of Data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D5F4380-D67C-46B2-AD8B-6733836B9C6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081" y="1167441"/>
            <a:ext cx="5333344" cy="8156079"/>
          </a:xfrm>
        </p:spPr>
        <p:txBody>
          <a:bodyPr/>
          <a:lstStyle/>
          <a:p>
            <a:r>
              <a:rPr lang="en-US" sz="2000" dirty="0"/>
              <a:t> 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000" dirty="0"/>
          </a:p>
          <a:p>
            <a:pPr>
              <a:buFont typeface="Arial" panose="020B0604020202020204" pitchFamily="34" charset="0"/>
              <a:buChar char="•"/>
            </a:pPr>
            <a:endParaRPr lang="en-US" sz="2000" dirty="0"/>
          </a:p>
          <a:p>
            <a:pPr>
              <a:buFont typeface="Arial" panose="020B0604020202020204" pitchFamily="34" charset="0"/>
              <a:buChar char="•"/>
            </a:pPr>
            <a:endParaRPr lang="en-US" sz="2000" dirty="0"/>
          </a:p>
          <a:p>
            <a:pPr>
              <a:buFont typeface="Arial" panose="020B0604020202020204" pitchFamily="34" charset="0"/>
              <a:buChar char="•"/>
            </a:pPr>
            <a:endParaRPr lang="en-US" sz="2000" dirty="0"/>
          </a:p>
          <a:p>
            <a:pPr>
              <a:buFont typeface="Arial" panose="020B0604020202020204" pitchFamily="34" charset="0"/>
              <a:buChar char="•"/>
            </a:pPr>
            <a:endParaRPr lang="en-US" sz="2000" dirty="0"/>
          </a:p>
          <a:p>
            <a:pPr>
              <a:buFont typeface="Arial" panose="020B0604020202020204" pitchFamily="34" charset="0"/>
              <a:buChar char="•"/>
            </a:pPr>
            <a:endParaRPr lang="en-US" sz="2000" dirty="0"/>
          </a:p>
          <a:p>
            <a:pPr>
              <a:buFont typeface="Arial" panose="020B0604020202020204" pitchFamily="34" charset="0"/>
              <a:buChar char="•"/>
            </a:pPr>
            <a:endParaRPr lang="en-US" sz="2000" dirty="0"/>
          </a:p>
          <a:p>
            <a:pPr>
              <a:buFont typeface="Arial" panose="020B0604020202020204" pitchFamily="34" charset="0"/>
              <a:buChar char="•"/>
            </a:pPr>
            <a:endParaRPr lang="en-US" sz="2000" dirty="0"/>
          </a:p>
          <a:p>
            <a:pPr>
              <a:buFont typeface="Arial" panose="020B0604020202020204" pitchFamily="34" charset="0"/>
              <a:buChar char="•"/>
            </a:pPr>
            <a:endParaRPr lang="en-US" sz="2000" dirty="0"/>
          </a:p>
          <a:p>
            <a:pPr>
              <a:buFont typeface="Arial" panose="020B0604020202020204" pitchFamily="34" charset="0"/>
              <a:buChar char="•"/>
            </a:pPr>
            <a:endParaRPr lang="en-US" sz="10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Average Happiness is  </a:t>
            </a:r>
            <a:r>
              <a:rPr lang="en-US" sz="3600" b="1" dirty="0">
                <a:solidFill>
                  <a:srgbClr val="FF0000"/>
                </a:solidFill>
              </a:rPr>
              <a:t>6.4 </a:t>
            </a:r>
            <a:r>
              <a:rPr lang="en-US" sz="1600" dirty="0"/>
              <a:t>/ 10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 Lowest score is</a:t>
            </a:r>
            <a:endParaRPr lang="en-US" sz="1200" dirty="0"/>
          </a:p>
          <a:p>
            <a:pPr marL="576263" lvl="1" indent="-119063">
              <a:lnSpc>
                <a:spcPct val="150000"/>
              </a:lnSpc>
              <a:buNone/>
            </a:pPr>
            <a:r>
              <a:rPr lang="en-US" altLang="th-TH" sz="1200" dirty="0"/>
              <a:t>“</a:t>
            </a:r>
            <a:r>
              <a:rPr lang="th-TH" altLang="th-TH" sz="1200" dirty="0" err="1"/>
              <a:t>Do</a:t>
            </a:r>
            <a:r>
              <a:rPr lang="th-TH" altLang="th-TH" sz="1200" dirty="0"/>
              <a:t> </a:t>
            </a:r>
            <a:r>
              <a:rPr lang="th-TH" altLang="th-TH" sz="1200" dirty="0" err="1"/>
              <a:t>you</a:t>
            </a:r>
            <a:r>
              <a:rPr lang="th-TH" altLang="th-TH" sz="1200" dirty="0"/>
              <a:t> and </a:t>
            </a:r>
            <a:r>
              <a:rPr lang="th-TH" altLang="th-TH" sz="1200" dirty="0" err="1"/>
              <a:t>your</a:t>
            </a:r>
            <a:r>
              <a:rPr lang="th-TH" altLang="th-TH" sz="1200" dirty="0"/>
              <a:t> </a:t>
            </a:r>
            <a:r>
              <a:rPr lang="th-TH" altLang="th-TH" sz="1200" dirty="0" err="1"/>
              <a:t>colleagues</a:t>
            </a:r>
            <a:r>
              <a:rPr lang="th-TH" altLang="th-TH" sz="1200" dirty="0"/>
              <a:t> OUTSIDE of </a:t>
            </a:r>
            <a:r>
              <a:rPr lang="th-TH" altLang="th-TH" sz="1200" dirty="0" err="1"/>
              <a:t>dEX</a:t>
            </a:r>
            <a:r>
              <a:rPr lang="th-TH" altLang="th-TH" sz="1200" dirty="0"/>
              <a:t> </a:t>
            </a:r>
            <a:r>
              <a:rPr lang="th-TH" altLang="th-TH" sz="1200" dirty="0" err="1"/>
              <a:t>team</a:t>
            </a:r>
            <a:r>
              <a:rPr lang="th-TH" altLang="th-TH" sz="1200" dirty="0"/>
              <a:t> </a:t>
            </a:r>
            <a:r>
              <a:rPr lang="th-TH" altLang="th-TH" sz="1200" dirty="0" err="1"/>
              <a:t>work</a:t>
            </a:r>
            <a:r>
              <a:rPr lang="th-TH" altLang="th-TH" sz="1200" dirty="0"/>
              <a:t> </a:t>
            </a:r>
            <a:r>
              <a:rPr lang="th-TH" altLang="th-TH" sz="1200" dirty="0" err="1"/>
              <a:t>to</a:t>
            </a:r>
            <a:r>
              <a:rPr lang="th-TH" altLang="th-TH" sz="1200" dirty="0"/>
              <a:t> </a:t>
            </a:r>
            <a:r>
              <a:rPr lang="th-TH" altLang="th-TH" sz="1200" dirty="0" err="1"/>
              <a:t>achieve</a:t>
            </a:r>
            <a:r>
              <a:rPr lang="th-TH" altLang="th-TH" sz="1200" dirty="0"/>
              <a:t> </a:t>
            </a:r>
            <a:r>
              <a:rPr lang="th-TH" altLang="th-TH" sz="1200" dirty="0" err="1"/>
              <a:t>the</a:t>
            </a:r>
            <a:r>
              <a:rPr lang="th-TH" altLang="th-TH" sz="1200" dirty="0"/>
              <a:t> </a:t>
            </a:r>
            <a:r>
              <a:rPr lang="th-TH" altLang="th-TH" sz="1200" dirty="0" err="1"/>
              <a:t>same</a:t>
            </a:r>
            <a:r>
              <a:rPr lang="th-TH" altLang="th-TH" sz="1200" dirty="0"/>
              <a:t> </a:t>
            </a:r>
            <a:r>
              <a:rPr lang="th-TH" altLang="th-TH" sz="1200" dirty="0" err="1"/>
              <a:t>goals</a:t>
            </a:r>
            <a:r>
              <a:rPr lang="th-TH" altLang="th-TH" sz="1200" dirty="0"/>
              <a:t>? </a:t>
            </a:r>
            <a:r>
              <a:rPr lang="en-US" altLang="th-TH" sz="1200" dirty="0"/>
              <a:t>“</a:t>
            </a:r>
            <a:endParaRPr lang="en-US" altLang="th-TH" sz="1600" dirty="0"/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Highest score is</a:t>
            </a:r>
            <a:endParaRPr lang="en-US" sz="1100" dirty="0"/>
          </a:p>
          <a:p>
            <a:pPr marL="497799" lvl="4" indent="0">
              <a:buNone/>
            </a:pPr>
            <a:r>
              <a:rPr lang="en-US" altLang="th-TH" sz="1200" dirty="0"/>
              <a:t>“Are you fully empowered and accountable for the work that you do?</a:t>
            </a:r>
            <a:r>
              <a:rPr lang="en-US" altLang="th-TH" sz="1400" dirty="0"/>
              <a:t>“</a:t>
            </a:r>
            <a:endParaRPr lang="en-US" altLang="th-TH" sz="1800" dirty="0"/>
          </a:p>
          <a:p>
            <a:pPr marL="201168" lvl="1" indent="0">
              <a:buNone/>
            </a:pPr>
            <a:endParaRPr lang="th-TH" altLang="th-TH" sz="6000" dirty="0"/>
          </a:p>
          <a:p>
            <a:pPr marL="201168" lvl="1" indent="0">
              <a:buNone/>
            </a:pPr>
            <a:endParaRPr lang="en-US" altLang="th-TH" sz="2000" dirty="0"/>
          </a:p>
          <a:p>
            <a:pPr marL="201168" lvl="1" indent="0">
              <a:buNone/>
            </a:pPr>
            <a:endParaRPr lang="th-TH" altLang="th-TH" sz="6000" dirty="0"/>
          </a:p>
          <a:p>
            <a:pPr lvl="1">
              <a:buFont typeface="Arial" panose="020B0604020202020204" pitchFamily="34" charset="0"/>
              <a:buChar char="•"/>
            </a:pPr>
            <a:endParaRPr lang="en-US" sz="2000" dirty="0"/>
          </a:p>
          <a:p>
            <a:endParaRPr lang="en-US" sz="1600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B956F05-6334-4186-98BC-0774CFC627E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197693" y="1461355"/>
            <a:ext cx="5381830" cy="441265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FA550F-9154-41B2-A61D-48B94AA106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2476" y="1043686"/>
            <a:ext cx="5333344" cy="246221"/>
          </a:xfrm>
        </p:spPr>
        <p:txBody>
          <a:bodyPr anchor="t"/>
          <a:lstStyle/>
          <a:p>
            <a:r>
              <a:rPr lang="en-US" sz="1600" dirty="0"/>
              <a:t>Over All Happine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8C3A5B-8B4A-4FF1-ABF7-4587F8BC073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97692" y="1034079"/>
            <a:ext cx="5381831" cy="246221"/>
          </a:xfrm>
        </p:spPr>
        <p:txBody>
          <a:bodyPr anchor="t"/>
          <a:lstStyle/>
          <a:p>
            <a:r>
              <a:rPr lang="en-US" sz="1600" dirty="0"/>
              <a:t>Reason to Qu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BAEA9B-BE74-404F-929D-E3A2D63B91B1}"/>
              </a:ext>
            </a:extLst>
          </p:cNvPr>
          <p:cNvSpPr txBox="1">
            <a:spLocks/>
          </p:cNvSpPr>
          <p:nvPr/>
        </p:nvSpPr>
        <p:spPr>
          <a:xfrm>
            <a:off x="2610393" y="2506559"/>
            <a:ext cx="10058400" cy="24842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35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17" indent="-195998" algn="l" defTabSz="9135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5"/>
              </a:buClr>
              <a:buSzPct val="125000"/>
              <a:buFont typeface="Arial" charset="0"/>
              <a:buChar char="▪"/>
              <a:defRPr lang="x-none" sz="1632" baseline="0">
                <a:solidFill>
                  <a:schemeClr val="tx1"/>
                </a:solidFill>
                <a:latin typeface="+mn-lt"/>
              </a:defRPr>
            </a:lvl2pPr>
            <a:lvl3pPr marL="466505" indent="-267269" algn="l" defTabSz="9135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5"/>
              </a:buClr>
              <a:buSzPct val="120000"/>
              <a:buFont typeface="Arial" charset="0"/>
              <a:buChar char="–"/>
              <a:defRPr lang="x-none" sz="1632" baseline="0">
                <a:solidFill>
                  <a:schemeClr val="tx1"/>
                </a:solidFill>
                <a:latin typeface="+mn-lt"/>
              </a:defRPr>
            </a:lvl3pPr>
            <a:lvl4pPr marL="626866" indent="-158741" algn="l" defTabSz="9135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5"/>
              </a:buClr>
              <a:buSzPct val="120000"/>
              <a:buFont typeface="Arial" charset="0"/>
              <a:buChar char="▫"/>
              <a:defRPr lang="x-none" sz="1632" baseline="0">
                <a:solidFill>
                  <a:schemeClr val="tx1"/>
                </a:solidFill>
                <a:latin typeface="+mn-lt"/>
              </a:defRPr>
            </a:lvl4pPr>
            <a:lvl5pPr marL="765068" indent="-132824" algn="l" defTabSz="9135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5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5pPr>
            <a:lvl6pPr marL="765068" indent="-132824" algn="l" defTabSz="9135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6pPr>
            <a:lvl7pPr marL="765068" indent="-132824" algn="l" defTabSz="9135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7pPr>
            <a:lvl8pPr marL="765068" indent="-132824" algn="l" defTabSz="9135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8pPr>
            <a:lvl9pPr marL="765068" indent="-132824" algn="l" defTabSz="91357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Font typeface="Arial" panose="020B0604020202020204" pitchFamily="34" charset="0"/>
              <a:buChar char="•"/>
            </a:pPr>
            <a:endParaRPr lang="en-US" sz="2200" kern="0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7A7A8A3-E6CE-4DA2-A043-DB72BAF571BB}"/>
              </a:ext>
            </a:extLst>
          </p:cNvPr>
          <p:cNvGrpSpPr/>
          <p:nvPr/>
        </p:nvGrpSpPr>
        <p:grpSpPr>
          <a:xfrm>
            <a:off x="381309" y="1416629"/>
            <a:ext cx="5636904" cy="3011461"/>
            <a:chOff x="878539" y="1013229"/>
            <a:chExt cx="10386279" cy="5447482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D5ACA6C-1ADC-4359-BB5D-CCE05CBB3B77}"/>
                </a:ext>
              </a:extLst>
            </p:cNvPr>
            <p:cNvSpPr txBox="1"/>
            <p:nvPr/>
          </p:nvSpPr>
          <p:spPr>
            <a:xfrm>
              <a:off x="9941546" y="6015318"/>
              <a:ext cx="1323272" cy="4453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/>
                <a:t>Happy</a:t>
              </a:r>
              <a:endParaRPr lang="th-TH" sz="1000" dirty="0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76B0E23-B78E-4E34-80D4-E00BF325C2D1}"/>
                </a:ext>
              </a:extLst>
            </p:cNvPr>
            <p:cNvSpPr txBox="1"/>
            <p:nvPr/>
          </p:nvSpPr>
          <p:spPr>
            <a:xfrm>
              <a:off x="5466845" y="6015318"/>
              <a:ext cx="1323272" cy="4453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/>
                <a:t>Neutral</a:t>
              </a:r>
              <a:endParaRPr lang="th-TH" sz="1000" dirty="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7FA72A5-BF9B-480C-8231-CE36404BB958}"/>
                </a:ext>
              </a:extLst>
            </p:cNvPr>
            <p:cNvSpPr txBox="1"/>
            <p:nvPr/>
          </p:nvSpPr>
          <p:spPr>
            <a:xfrm>
              <a:off x="878539" y="5991507"/>
              <a:ext cx="1290918" cy="4453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/>
                <a:t>Unhappy</a:t>
              </a:r>
              <a:endParaRPr lang="th-TH" sz="900" dirty="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DFF1E19D-6EC7-45E3-9630-AF37C1B1B7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859" r="634"/>
            <a:stretch/>
          </p:blipFill>
          <p:spPr>
            <a:xfrm>
              <a:off x="1030341" y="1013229"/>
              <a:ext cx="9512153" cy="5002089"/>
            </a:xfrm>
            <a:prstGeom prst="rect">
              <a:avLst/>
            </a:prstGeom>
          </p:spPr>
        </p:pic>
      </p:grpSp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11" name="Chart 10">
                <a:extLst>
                  <a:ext uri="{FF2B5EF4-FFF2-40B4-BE49-F238E27FC236}">
                    <a16:creationId xmlns:a16="http://schemas.microsoft.com/office/drawing/2014/main" id="{085F4E0C-2044-4F81-80FE-796F50D95D8E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237793760"/>
                  </p:ext>
                </p:extLst>
              </p:nvPr>
            </p:nvGraphicFramePr>
            <p:xfrm>
              <a:off x="6246182" y="1259175"/>
              <a:ext cx="5381829" cy="4978986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>
          <p:pic>
            <p:nvPicPr>
              <p:cNvPr id="11" name="Chart 10">
                <a:extLst>
                  <a:ext uri="{FF2B5EF4-FFF2-40B4-BE49-F238E27FC236}">
                    <a16:creationId xmlns:a16="http://schemas.microsoft.com/office/drawing/2014/main" id="{085F4E0C-2044-4F81-80FE-796F50D95D8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246182" y="1259175"/>
                <a:ext cx="5381829" cy="4978986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8051389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B8FAA-DE71-4953-832D-EE6DE1D6B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826" y="389141"/>
            <a:ext cx="11146737" cy="861774"/>
          </a:xfrm>
        </p:spPr>
        <p:txBody>
          <a:bodyPr/>
          <a:lstStyle/>
          <a:p>
            <a:r>
              <a:rPr lang="en-US" dirty="0"/>
              <a:t>Happiness @ </a:t>
            </a:r>
            <a:r>
              <a:rPr lang="en-US" dirty="0" err="1"/>
              <a:t>dEX</a:t>
            </a:r>
            <a:r>
              <a:rPr lang="en-US" dirty="0"/>
              <a:t> can be enhance by Capabilities and Skillets, Work Life Balance, Team Leader Feedback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1B9D878-596F-4507-816D-0C86897167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34926" y="1601835"/>
            <a:ext cx="6396310" cy="3695898"/>
          </a:xfrm>
          <a:prstGeom prst="rect">
            <a:avLst/>
          </a:prstGeom>
        </p:spPr>
      </p:pic>
      <p:sp>
        <p:nvSpPr>
          <p:cNvPr id="3" name="AutoShape 2" descr="C:\Users\prawi\AppData\Local\Packages\Microsoft.Office.Desktop_8wekyb3d8bbwe\AC\INetCache\Content.MSO\ppt750D.tmp">
            <a:extLst>
              <a:ext uri="{FF2B5EF4-FFF2-40B4-BE49-F238E27FC236}">
                <a16:creationId xmlns:a16="http://schemas.microsoft.com/office/drawing/2014/main" id="{4B91E5BC-6780-4852-BB1A-7469DD70DCD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246914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89AA997-8161-494C-89BF-8D676254A436}"/>
              </a:ext>
            </a:extLst>
          </p:cNvPr>
          <p:cNvGrpSpPr/>
          <p:nvPr/>
        </p:nvGrpSpPr>
        <p:grpSpPr>
          <a:xfrm>
            <a:off x="1354891" y="2201391"/>
            <a:ext cx="854367" cy="1103405"/>
            <a:chOff x="516687" y="2922931"/>
            <a:chExt cx="854367" cy="1103405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01843B4-A606-448E-A771-6F0B562427A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6687" y="2922931"/>
              <a:ext cx="854367" cy="854367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2DA0830-8376-476D-86E7-380971BBEDCF}"/>
                </a:ext>
              </a:extLst>
            </p:cNvPr>
            <p:cNvSpPr txBox="1"/>
            <p:nvPr/>
          </p:nvSpPr>
          <p:spPr>
            <a:xfrm>
              <a:off x="572616" y="3718559"/>
              <a:ext cx="74251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/>
                <a:t>Survey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E0FB7B4-C1F6-4FB9-9599-244ABC3C5AD3}"/>
              </a:ext>
            </a:extLst>
          </p:cNvPr>
          <p:cNvGrpSpPr/>
          <p:nvPr/>
        </p:nvGrpSpPr>
        <p:grpSpPr>
          <a:xfrm>
            <a:off x="3025084" y="2179783"/>
            <a:ext cx="1279196" cy="1096817"/>
            <a:chOff x="2357526" y="2818826"/>
            <a:chExt cx="1656426" cy="1311339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D66AC7E-A2F1-48B8-884D-27F3C7770A0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14056" y="2818826"/>
              <a:ext cx="943366" cy="943365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4FBAFF2-847A-4889-8004-C40649A54182}"/>
                </a:ext>
              </a:extLst>
            </p:cNvPr>
            <p:cNvSpPr txBox="1"/>
            <p:nvPr/>
          </p:nvSpPr>
          <p:spPr>
            <a:xfrm>
              <a:off x="2357526" y="3762191"/>
              <a:ext cx="1656426" cy="3679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/>
                <a:t>Decision Tree</a:t>
              </a:r>
            </a:p>
          </p:txBody>
        </p:sp>
      </p:grpSp>
      <p:sp>
        <p:nvSpPr>
          <p:cNvPr id="16" name="Plus Sign 15">
            <a:extLst>
              <a:ext uri="{FF2B5EF4-FFF2-40B4-BE49-F238E27FC236}">
                <a16:creationId xmlns:a16="http://schemas.microsoft.com/office/drawing/2014/main" id="{CFE4E086-92E2-47B7-888A-65DFFBC8E4C3}"/>
              </a:ext>
            </a:extLst>
          </p:cNvPr>
          <p:cNvSpPr/>
          <p:nvPr/>
        </p:nvSpPr>
        <p:spPr>
          <a:xfrm>
            <a:off x="2491883" y="2361040"/>
            <a:ext cx="510433" cy="510433"/>
          </a:xfrm>
          <a:prstGeom prst="mathPlus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3" name="Equals 22">
            <a:extLst>
              <a:ext uri="{FF2B5EF4-FFF2-40B4-BE49-F238E27FC236}">
                <a16:creationId xmlns:a16="http://schemas.microsoft.com/office/drawing/2014/main" id="{00263EF4-729B-47B6-A385-EBA5BE618EF6}"/>
              </a:ext>
            </a:extLst>
          </p:cNvPr>
          <p:cNvSpPr/>
          <p:nvPr/>
        </p:nvSpPr>
        <p:spPr>
          <a:xfrm>
            <a:off x="4613535" y="2398105"/>
            <a:ext cx="484331" cy="484331"/>
          </a:xfrm>
          <a:prstGeom prst="mathEqual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4" name="object 9">
            <a:extLst>
              <a:ext uri="{FF2B5EF4-FFF2-40B4-BE49-F238E27FC236}">
                <a16:creationId xmlns:a16="http://schemas.microsoft.com/office/drawing/2014/main" id="{C8D62805-144D-4772-9F9E-6A9742E47830}"/>
              </a:ext>
            </a:extLst>
          </p:cNvPr>
          <p:cNvSpPr txBox="1">
            <a:spLocks/>
          </p:cNvSpPr>
          <p:nvPr/>
        </p:nvSpPr>
        <p:spPr>
          <a:xfrm>
            <a:off x="299348" y="4690813"/>
            <a:ext cx="180815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 defTabSz="140667">
              <a:buClr>
                <a:srgbClr val="1B1464"/>
              </a:buClr>
              <a:buSzPct val="100000"/>
              <a:defRPr sz="1400" baseline="0">
                <a:solidFill>
                  <a:srgbClr val="00B9FA"/>
                </a:solidFill>
              </a:defRPr>
            </a:lvl1pPr>
            <a:lvl2pPr marL="193685" lvl="1" indent="-192098" defTabSz="895395">
              <a:buClr>
                <a:schemeClr val="accent5"/>
              </a:buClr>
              <a:buSzPct val="125000"/>
              <a:buFont typeface="Arial" charset="0"/>
              <a:buChar char="▪"/>
              <a:defRPr baseline="0"/>
            </a:lvl2pPr>
            <a:lvl3pPr marL="457223" lvl="2" indent="-261951" defTabSz="895395">
              <a:buClr>
                <a:schemeClr val="accent5"/>
              </a:buClr>
              <a:buSzPct val="120000"/>
              <a:buFont typeface="Arial" charset="0"/>
              <a:buChar char="–"/>
              <a:defRPr baseline="0"/>
            </a:lvl3pPr>
            <a:lvl4pPr marL="614394" lvl="3" indent="-155583" defTabSz="895395">
              <a:buClr>
                <a:schemeClr val="accent5"/>
              </a:buClr>
              <a:buSzPct val="120000"/>
              <a:buFont typeface="Arial" charset="0"/>
              <a:buChar char="▫"/>
              <a:defRPr baseline="0"/>
            </a:lvl4pPr>
            <a:lvl5pPr marL="749846" lvl="4" indent="-130181" defTabSz="895395">
              <a:buClr>
                <a:schemeClr val="accent5"/>
              </a:buClr>
              <a:buSzPct val="89000"/>
              <a:buFont typeface="Arial" charset="0"/>
              <a:buChar char="-"/>
              <a:defRPr baseline="0"/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sz="1600" b="1" dirty="0" err="1"/>
              <a:t>Enhacing</a:t>
            </a:r>
            <a:r>
              <a:rPr lang="en-US" sz="1600" b="1" dirty="0"/>
              <a:t> factor</a:t>
            </a:r>
            <a:endParaRPr sz="1600" b="1" dirty="0"/>
          </a:p>
        </p:txBody>
      </p:sp>
      <p:sp>
        <p:nvSpPr>
          <p:cNvPr id="35" name="TextBox 21">
            <a:extLst>
              <a:ext uri="{FF2B5EF4-FFF2-40B4-BE49-F238E27FC236}">
                <a16:creationId xmlns:a16="http://schemas.microsoft.com/office/drawing/2014/main" id="{4B4DF6C6-AFA3-45A1-9602-69B31FE80475}"/>
              </a:ext>
            </a:extLst>
          </p:cNvPr>
          <p:cNvSpPr txBox="1">
            <a:spLocks/>
          </p:cNvSpPr>
          <p:nvPr/>
        </p:nvSpPr>
        <p:spPr>
          <a:xfrm>
            <a:off x="458430" y="5068360"/>
            <a:ext cx="5633696" cy="883211"/>
          </a:xfrm>
          <a:prstGeom prst="rect">
            <a:avLst/>
          </a:prstGeom>
        </p:spPr>
        <p:txBody>
          <a:bodyPr vert="horz" wrap="square" lIns="11310" tIns="11310" rIns="11310" bIns="11310" rtlCol="0" anchor="t" anchorCtr="0">
            <a:spAutoFit/>
          </a:bodyPr>
          <a:lstStyle>
            <a:defPPr>
              <a:defRPr lang="en-US"/>
            </a:defPPr>
            <a:lvl1pPr lvl="0" indent="0" defTabSz="2268036">
              <a:buClr>
                <a:schemeClr val="tx2"/>
              </a:buClr>
              <a:buSzPct val="100000"/>
              <a:defRPr sz="6000" baseline="0"/>
            </a:lvl1pPr>
            <a:lvl2pPr marL="233363" lvl="1" indent="-228600" defTabSz="2268036">
              <a:buClr>
                <a:schemeClr val="accent5"/>
              </a:buClr>
              <a:buSzPct val="125000"/>
              <a:buFont typeface="Arial" charset="0"/>
              <a:buChar char="▪"/>
              <a:defRPr sz="1400" baseline="0"/>
            </a:lvl2pPr>
            <a:lvl3pPr marL="1158146" lvl="2" indent="-663522" defTabSz="2268036">
              <a:buClr>
                <a:schemeClr val="accent5"/>
              </a:buClr>
              <a:buSzPct val="120000"/>
              <a:buFont typeface="Arial" charset="0"/>
              <a:buChar char="–"/>
              <a:defRPr sz="6000" baseline="0"/>
            </a:lvl3pPr>
            <a:lvl4pPr marL="1556260" lvl="3" indent="-394092" defTabSz="2268036">
              <a:buClr>
                <a:schemeClr val="accent5"/>
              </a:buClr>
              <a:buSzPct val="120000"/>
              <a:buFont typeface="Arial" charset="0"/>
              <a:buChar char="▫"/>
              <a:defRPr sz="6000" baseline="0"/>
            </a:lvl4pPr>
            <a:lvl5pPr marL="1899360" lvl="4" indent="-329748" defTabSz="2268036">
              <a:buClr>
                <a:schemeClr val="accent5"/>
              </a:buClr>
              <a:buSzPct val="89000"/>
              <a:buFont typeface="Arial" charset="0"/>
              <a:buChar char="-"/>
              <a:defRPr sz="6000" baseline="0"/>
            </a:lvl5pPr>
            <a:lvl6pPr marL="1899360" indent="-329748" defTabSz="2268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53" baseline="0"/>
            </a:lvl6pPr>
            <a:lvl7pPr marL="1899360" indent="-329748" defTabSz="2268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53" baseline="0"/>
            </a:lvl7pPr>
            <a:lvl8pPr marL="1899360" indent="-329748" defTabSz="2268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53" baseline="0"/>
            </a:lvl8pPr>
            <a:lvl9pPr marL="1899360" indent="-329748" defTabSz="2268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53" baseline="0"/>
            </a:lvl9pPr>
          </a:lstStyle>
          <a:p>
            <a:pPr lvl="1"/>
            <a:r>
              <a:rPr lang="en-US" dirty="0"/>
              <a:t>Capabilities and skillets to reach full potential </a:t>
            </a:r>
          </a:p>
          <a:p>
            <a:pPr lvl="1"/>
            <a:r>
              <a:rPr lang="en-US" dirty="0"/>
              <a:t>Healthy work life balance</a:t>
            </a:r>
          </a:p>
          <a:p>
            <a:pPr lvl="1"/>
            <a:r>
              <a:rPr lang="en-US" dirty="0"/>
              <a:t>Feedback and recognition from your team leader </a:t>
            </a:r>
          </a:p>
          <a:p>
            <a:pPr lvl="1"/>
            <a:endParaRPr lang="en-US" dirty="0"/>
          </a:p>
        </p:txBody>
      </p:sp>
      <p:sp>
        <p:nvSpPr>
          <p:cNvPr id="47" name="TextBox 2">
            <a:extLst>
              <a:ext uri="{FF2B5EF4-FFF2-40B4-BE49-F238E27FC236}">
                <a16:creationId xmlns:a16="http://schemas.microsoft.com/office/drawing/2014/main" id="{0AE5605C-BF80-4F9A-91E2-230AAF451570}"/>
              </a:ext>
            </a:extLst>
          </p:cNvPr>
          <p:cNvSpPr txBox="1">
            <a:spLocks/>
          </p:cNvSpPr>
          <p:nvPr/>
        </p:nvSpPr>
        <p:spPr>
          <a:xfrm>
            <a:off x="295604" y="3802243"/>
            <a:ext cx="2972519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lvl="0" indent="0" defTabSz="140667">
              <a:buClr>
                <a:srgbClr val="1B1464"/>
              </a:buClr>
              <a:buSzPct val="100000"/>
              <a:defRPr sz="1600" b="1" baseline="0">
                <a:solidFill>
                  <a:srgbClr val="00B9FA"/>
                </a:solidFill>
              </a:defRPr>
            </a:lvl1pPr>
            <a:lvl2pPr marL="193685" lvl="1" indent="-192098" defTabSz="895395">
              <a:buClr>
                <a:schemeClr val="accent5"/>
              </a:buClr>
              <a:buSzPct val="125000"/>
              <a:buFont typeface="Arial" charset="0"/>
              <a:buChar char="▪"/>
              <a:defRPr baseline="0"/>
            </a:lvl2pPr>
            <a:lvl3pPr marL="457223" lvl="2" indent="-261951" defTabSz="895395">
              <a:buClr>
                <a:schemeClr val="accent5"/>
              </a:buClr>
              <a:buSzPct val="120000"/>
              <a:buFont typeface="Arial" charset="0"/>
              <a:buChar char="–"/>
              <a:defRPr baseline="0"/>
            </a:lvl3pPr>
            <a:lvl4pPr marL="614394" lvl="3" indent="-155583" defTabSz="895395">
              <a:buClr>
                <a:schemeClr val="accent5"/>
              </a:buClr>
              <a:buSzPct val="120000"/>
              <a:buFont typeface="Arial" charset="0"/>
              <a:buChar char="▫"/>
              <a:defRPr baseline="0"/>
            </a:lvl4pPr>
            <a:lvl5pPr marL="749846" lvl="4" indent="-130181" defTabSz="895395">
              <a:buClr>
                <a:schemeClr val="accent5"/>
              </a:buClr>
              <a:buSzPct val="89000"/>
              <a:buFont typeface="Arial" charset="0"/>
              <a:buChar char="-"/>
              <a:defRPr baseline="0"/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dirty="0"/>
              <a:t>Overview</a:t>
            </a:r>
          </a:p>
        </p:txBody>
      </p:sp>
      <p:sp>
        <p:nvSpPr>
          <p:cNvPr id="49" name="TextBox 4">
            <a:extLst>
              <a:ext uri="{FF2B5EF4-FFF2-40B4-BE49-F238E27FC236}">
                <a16:creationId xmlns:a16="http://schemas.microsoft.com/office/drawing/2014/main" id="{F9B814F7-871A-4A65-80C5-EAADBFA212D1}"/>
              </a:ext>
            </a:extLst>
          </p:cNvPr>
          <p:cNvSpPr txBox="1"/>
          <p:nvPr/>
        </p:nvSpPr>
        <p:spPr>
          <a:xfrm>
            <a:off x="458430" y="4099302"/>
            <a:ext cx="5731670" cy="453728"/>
          </a:xfrm>
          <a:prstGeom prst="rect">
            <a:avLst/>
          </a:prstGeom>
        </p:spPr>
        <p:txBody>
          <a:bodyPr vert="horz" wrap="square" lIns="11310" tIns="11310" rIns="11310" bIns="11310" rtlCol="0" anchor="t" anchorCtr="0">
            <a:spAutoFit/>
          </a:bodyPr>
          <a:lstStyle>
            <a:lvl1pPr marL="0" lvl="0" indent="0" defTabSz="2268036" eaLnBrk="1" latinLnBrk="0" hangingPunct="1">
              <a:buClr>
                <a:schemeClr val="tx2"/>
              </a:buClr>
              <a:buSzPct val="100000"/>
              <a:defRPr lang="x-none" sz="6000" baseline="0">
                <a:latin typeface="+mn-lt"/>
              </a:defRPr>
            </a:lvl1pPr>
            <a:lvl2pPr marL="490604" lvl="1" indent="-486584" defTabSz="2268036" eaLnBrk="1" latinLnBrk="0" hangingPunct="1">
              <a:buClr>
                <a:schemeClr val="accent5"/>
              </a:buClr>
              <a:buSzPct val="125000"/>
              <a:buFont typeface="Arial" charset="0"/>
              <a:buChar char="▪"/>
              <a:defRPr lang="x-none" sz="6000" baseline="0">
                <a:latin typeface="+mn-lt"/>
              </a:defRPr>
            </a:lvl2pPr>
            <a:lvl3pPr marL="1158146" lvl="2" indent="-663522" defTabSz="2268036" eaLnBrk="1" latinLnBrk="0" hangingPunct="1">
              <a:buClr>
                <a:schemeClr val="accent5"/>
              </a:buClr>
              <a:buSzPct val="120000"/>
              <a:buFont typeface="Arial" charset="0"/>
              <a:buChar char="–"/>
              <a:defRPr lang="x-none" sz="6000" baseline="0">
                <a:latin typeface="+mn-lt"/>
              </a:defRPr>
            </a:lvl3pPr>
            <a:lvl4pPr marL="1556260" lvl="3" indent="-394092" defTabSz="2268036" eaLnBrk="1" latinLnBrk="0" hangingPunct="1">
              <a:buClr>
                <a:schemeClr val="accent5"/>
              </a:buClr>
              <a:buSzPct val="120000"/>
              <a:buFont typeface="Arial" charset="0"/>
              <a:buChar char="▫"/>
              <a:defRPr lang="x-none" sz="6000" baseline="0">
                <a:latin typeface="+mn-lt"/>
              </a:defRPr>
            </a:lvl4pPr>
            <a:lvl5pPr marL="1899360" lvl="4" indent="-329748" defTabSz="2268036" eaLnBrk="1" latinLnBrk="0" hangingPunct="1">
              <a:buClr>
                <a:schemeClr val="accent5"/>
              </a:buClr>
              <a:buSzPct val="89000"/>
              <a:buFont typeface="Arial" charset="0"/>
              <a:buChar char="-"/>
              <a:defRPr lang="x-none" sz="6000" baseline="0">
                <a:latin typeface="+mn-lt"/>
              </a:defRPr>
            </a:lvl5pPr>
            <a:lvl6pPr marL="1899360" indent="-329748" defTabSz="2268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4053" baseline="0">
                <a:latin typeface="+mn-lt"/>
              </a:defRPr>
            </a:lvl6pPr>
            <a:lvl7pPr marL="1899360" indent="-329748" defTabSz="2268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4053" baseline="0">
                <a:latin typeface="+mn-lt"/>
              </a:defRPr>
            </a:lvl7pPr>
            <a:lvl8pPr marL="1899360" indent="-329748" defTabSz="2268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4053" baseline="0">
                <a:latin typeface="+mn-lt"/>
              </a:defRPr>
            </a:lvl8pPr>
            <a:lvl9pPr marL="1899360" indent="-329748" defTabSz="2268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4053" baseline="0">
                <a:latin typeface="+mn-lt"/>
              </a:defRPr>
            </a:lvl9pPr>
          </a:lstStyle>
          <a:p>
            <a:pPr marL="233363" lvl="1" indent="-228600"/>
            <a:r>
              <a:rPr lang="en-US" sz="1400" dirty="0"/>
              <a:t>Using machine learning to find the most important factor that dictate team member satisfaction. We use Happiness, Trust, Value for GC</a:t>
            </a:r>
          </a:p>
        </p:txBody>
      </p:sp>
    </p:spTree>
    <p:extLst>
      <p:ext uri="{BB962C8B-B14F-4D97-AF65-F5344CB8AC3E}">
        <p14:creationId xmlns:p14="http://schemas.microsoft.com/office/powerpoint/2010/main" val="16135443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65B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7004218" y="2228671"/>
            <a:ext cx="386997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ank You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7117" y="6185647"/>
            <a:ext cx="1444882" cy="67235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680098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2068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E64C437-8002-4E23-9D4D-2BEA8803D5C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586" t="14389" r="5080" b="50182"/>
          <a:stretch/>
        </p:blipFill>
        <p:spPr>
          <a:xfrm rot="10800000" flipV="1">
            <a:off x="183" y="-8793"/>
            <a:ext cx="12191634" cy="6866792"/>
          </a:xfrm>
          <a:prstGeom prst="rect">
            <a:avLst/>
          </a:prstGeom>
          <a:effectLst>
            <a:outerShdw blurRad="50800" dist="50800" dir="5400000" sx="1000" sy="1000" algn="ctr" rotWithShape="0">
              <a:srgbClr val="000000">
                <a:alpha val="10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24E9BEC-DCA7-42F4-9261-F3662538EE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8110" y="1272749"/>
            <a:ext cx="2326893" cy="2047667"/>
          </a:xfrm>
          <a:prstGeom prst="rect">
            <a:avLst/>
          </a:prstGeom>
          <a:effectLst/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BD7BA40-E50D-4D9C-94D0-48D283A34C82}"/>
              </a:ext>
            </a:extLst>
          </p:cNvPr>
          <p:cNvSpPr/>
          <p:nvPr/>
        </p:nvSpPr>
        <p:spPr>
          <a:xfrm>
            <a:off x="5685119" y="1865958"/>
            <a:ext cx="3786061" cy="8234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14374">
              <a:defRPr/>
            </a:pPr>
            <a:r>
              <a:rPr lang="en-US" sz="7961" dirty="0">
                <a:solidFill>
                  <a:prstClr val="white"/>
                </a:solidFill>
                <a:latin typeface="DB Heavent" panose="02000506060000020004" pitchFamily="2" charset="-34"/>
                <a:cs typeface="DB Heavent" panose="02000506060000020004" pitchFamily="2" charset="-34"/>
              </a:rPr>
              <a:t> | Analytic</a:t>
            </a:r>
            <a:endParaRPr lang="th-TH" sz="7961" dirty="0">
              <a:solidFill>
                <a:prstClr val="white"/>
              </a:solidFill>
              <a:latin typeface="DB Heavent" panose="02000506060000020004" pitchFamily="2" charset="-34"/>
              <a:cs typeface="DB Heavent" panose="02000506060000020004" pitchFamily="2" charset="-3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A480DF-52CB-4B83-BBD1-F199CFC00C91}"/>
              </a:ext>
            </a:extLst>
          </p:cNvPr>
          <p:cNvSpPr/>
          <p:nvPr/>
        </p:nvSpPr>
        <p:spPr>
          <a:xfrm>
            <a:off x="91" y="3443349"/>
            <a:ext cx="12191727" cy="731767"/>
          </a:xfrm>
          <a:prstGeom prst="rect">
            <a:avLst/>
          </a:prstGeom>
          <a:noFill/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4374">
              <a:defRPr/>
            </a:pPr>
            <a:r>
              <a:rPr lang="en-US" sz="4489" dirty="0">
                <a:solidFill>
                  <a:srgbClr val="FFFFFF"/>
                </a:solidFill>
                <a:latin typeface="DB Heavent" panose="02000506060000020004" pitchFamily="2" charset="-34"/>
                <a:cs typeface="DB Heavent" panose="02000506060000020004" pitchFamily="2" charset="-34"/>
              </a:rPr>
              <a:t> THANK YOU SO MUCH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32C17B1-B3B8-4741-8068-93525A73F5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5026" y="1"/>
            <a:ext cx="1306791" cy="60313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7499539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T4pT03T2WZuHnRr7YP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Oqqk59Ty6RtOgYM2WX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Oqqk59Ty6RtOgYM2WXn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Oqqk59Ty6RtOgYM2WX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Oqqk59Ty6RtOgYM2WX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_7g4QfRtae1Qg8fIA6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CF_PXT126_WS">
  <a:themeElements>
    <a:clrScheme name="Current">
      <a:dk1>
        <a:srgbClr val="000000"/>
      </a:dk1>
      <a:lt1>
        <a:srgbClr val="FFFFFF"/>
      </a:lt1>
      <a:dk2>
        <a:srgbClr val="1B1464"/>
      </a:dk2>
      <a:lt2>
        <a:srgbClr val="FFFFFF"/>
      </a:lt2>
      <a:accent1>
        <a:srgbClr val="E2E1DE"/>
      </a:accent1>
      <a:accent2>
        <a:srgbClr val="00B9FA"/>
      </a:accent2>
      <a:accent3>
        <a:srgbClr val="005CA8"/>
      </a:accent3>
      <a:accent4>
        <a:srgbClr val="1B1464"/>
      </a:accent4>
      <a:accent5>
        <a:srgbClr val="EB2227"/>
      </a:accent5>
      <a:accent6>
        <a:srgbClr val="808080"/>
      </a:accent6>
      <a:hlink>
        <a:srgbClr val="005CA8"/>
      </a:hlink>
      <a:folHlink>
        <a:srgbClr val="1B1464"/>
      </a:folHlink>
    </a:clrScheme>
    <a:fontScheme name="Custom 14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B1464"/>
        </a:dk2>
        <a:lt2>
          <a:srgbClr val="FFFFFF"/>
        </a:lt2>
        <a:accent1>
          <a:srgbClr val="E2E1DE"/>
        </a:accent1>
        <a:accent2>
          <a:srgbClr val="00B9FA"/>
        </a:accent2>
        <a:accent3>
          <a:srgbClr val="005CA8"/>
        </a:accent3>
        <a:accent4>
          <a:srgbClr val="1B1464"/>
        </a:accent4>
        <a:accent5>
          <a:srgbClr val="EB2227"/>
        </a:accent5>
        <a:accent6>
          <a:srgbClr val="808080"/>
        </a:accent6>
        <a:hlink>
          <a:srgbClr val="005CA8"/>
        </a:hlink>
        <a:folHlink>
          <a:srgbClr val="1B14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F_PXT126_WS.potx" id="{983F334A-6A2B-478F-A45A-A21913388691}" vid="{04A39765-3123-4C8A-A961-44DBEA95FC9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63F98D445EA64DB94C3BE2BEBE870A" ma:contentTypeVersion="5" ma:contentTypeDescription="Create a new document." ma:contentTypeScope="" ma:versionID="8db4316b9062cadf7f3cd86ddb23012b">
  <xsd:schema xmlns:xsd="http://www.w3.org/2001/XMLSchema" xmlns:xs="http://www.w3.org/2001/XMLSchema" xmlns:p="http://schemas.microsoft.com/office/2006/metadata/properties" xmlns:ns2="6d4cd8fb-6f95-4e67-891f-1c70c66a906b" xmlns:ns3="85884441-3bd6-40a3-8c8e-368d8c71f3e3" targetNamespace="http://schemas.microsoft.com/office/2006/metadata/properties" ma:root="true" ma:fieldsID="f9300da24760035c8cf7fb7b0e411070" ns2:_="" ns3:_="">
    <xsd:import namespace="6d4cd8fb-6f95-4e67-891f-1c70c66a906b"/>
    <xsd:import namespace="85884441-3bd6-40a3-8c8e-368d8c71f3e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Pag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4cd8fb-6f95-4e67-891f-1c70c66a906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Page" ma:index="10" nillable="true" ma:displayName="Page" ma:internalName="Pag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884441-3bd6-40a3-8c8e-368d8c71f3e3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age xmlns="6d4cd8fb-6f95-4e67-891f-1c70c66a906b">5</Page>
    <SharedWithUsers xmlns="85884441-3bd6-40a3-8c8e-368d8c71f3e3">
      <UserInfo>
        <DisplayName>Jutamas Su &lt;Q-QM-OE/2183&gt;</DisplayName>
        <AccountId>7366</AccountId>
        <AccountType/>
      </UserInfo>
      <UserInfo>
        <DisplayName>Pilaiwan P &lt;E-EO-SP/4262&gt;</DisplayName>
        <AccountId>4074</AccountId>
        <AccountType/>
      </UserInfo>
      <UserInfo>
        <DisplayName>Sutha B &lt;C-SR-DP/4483&gt;</DisplayName>
        <AccountId>613</AccountId>
        <AccountType/>
      </UserInfo>
      <UserInfo>
        <DisplayName>Watcharapol S &lt;PH-P1-OP/3998&gt;</DisplayName>
        <AccountId>616</AccountId>
        <AccountType/>
      </UserInfo>
      <UserInfo>
        <DisplayName>Wannipa T &lt;P-SM-MD/8980&gt;</DisplayName>
        <AccountId>6453</AccountId>
        <AccountType/>
      </UserInfo>
      <UserInfo>
        <DisplayName>Rungarun R &lt;A-MN-MP/2023&gt;</DisplayName>
        <AccountId>5450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7B377C6-0ECF-44A4-AC77-EC5CA8E92C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d4cd8fb-6f95-4e67-891f-1c70c66a906b"/>
    <ds:schemaRef ds:uri="85884441-3bd6-40a3-8c8e-368d8c71f3e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93C90F5-4856-46B7-AFFA-8A044945772A}">
  <ds:schemaRefs>
    <ds:schemaRef ds:uri="http://schemas.microsoft.com/office/2006/metadata/properties"/>
    <ds:schemaRef ds:uri="http://schemas.microsoft.com/office/infopath/2007/PartnerControls"/>
    <ds:schemaRef ds:uri="6d4cd8fb-6f95-4e67-891f-1c70c66a906b"/>
    <ds:schemaRef ds:uri="85884441-3bd6-40a3-8c8e-368d8c71f3e3"/>
  </ds:schemaRefs>
</ds:datastoreItem>
</file>

<file path=customXml/itemProps3.xml><?xml version="1.0" encoding="utf-8"?>
<ds:datastoreItem xmlns:ds="http://schemas.openxmlformats.org/officeDocument/2006/customXml" ds:itemID="{E08755FA-A7E3-4673-B30F-2984470451E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344</TotalTime>
  <Words>141</Words>
  <Application>Microsoft Office PowerPoint</Application>
  <PresentationFormat>Widescreen</PresentationFormat>
  <Paragraphs>41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Calibri Light</vt:lpstr>
      <vt:lpstr>DB Heavent</vt:lpstr>
      <vt:lpstr>Georgia</vt:lpstr>
      <vt:lpstr>Tahoma</vt:lpstr>
      <vt:lpstr>Office Theme</vt:lpstr>
      <vt:lpstr>7_CF_PXT126_WS</vt:lpstr>
      <vt:lpstr>think-cell Slide</vt:lpstr>
      <vt:lpstr>PowerPoint Presentation</vt:lpstr>
      <vt:lpstr>Summary of Data</vt:lpstr>
      <vt:lpstr>Happiness @ dEX can be enhance by Capabilities and Skillets, Work Life Balance, Team Leader Feedback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C Slide Template_Option1_16-9</dc:title>
  <dc:creator>Wongchantarasak, Nattapol</dc:creator>
  <cp:lastModifiedBy>Prawin Phichitnitikorn</cp:lastModifiedBy>
  <cp:revision>70</cp:revision>
  <dcterms:created xsi:type="dcterms:W3CDTF">2018-06-07T10:17:10Z</dcterms:created>
  <dcterms:modified xsi:type="dcterms:W3CDTF">2019-06-13T17:49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63F98D445EA64DB94C3BE2BEBE870A</vt:lpwstr>
  </property>
</Properties>
</file>